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4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6.xml" ContentType="application/vnd.openxmlformats-officedocument.theme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7.xml" ContentType="application/vnd.openxmlformats-officedocument.theme+xml"/>
  <Override PartName="/ppt/tags/tag4.xml" ContentType="application/vnd.openxmlformats-officedocument.presentationml.tags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rts/colors1.xml" ContentType="application/vnd.ms-office.chartcolorstyle+xml"/>
  <Override PartName="/ppt/charts/style1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9" r:id="rId4"/>
    <p:sldMasterId id="2147483861" r:id="rId5"/>
    <p:sldMasterId id="2147483877" r:id="rId6"/>
    <p:sldMasterId id="2147483904" r:id="rId7"/>
    <p:sldMasterId id="2147483918" r:id="rId8"/>
    <p:sldMasterId id="2147483944" r:id="rId9"/>
    <p:sldMasterId id="2147483956" r:id="rId10"/>
    <p:sldMasterId id="2147483983" r:id="rId11"/>
  </p:sldMasterIdLst>
  <p:notesMasterIdLst>
    <p:notesMasterId r:id="rId23"/>
  </p:notesMasterIdLst>
  <p:handoutMasterIdLst>
    <p:handoutMasterId r:id="rId24"/>
  </p:handoutMasterIdLst>
  <p:sldIdLst>
    <p:sldId id="801" r:id="rId12"/>
    <p:sldId id="871" r:id="rId13"/>
    <p:sldId id="877" r:id="rId14"/>
    <p:sldId id="916" r:id="rId15"/>
    <p:sldId id="911" r:id="rId16"/>
    <p:sldId id="912" r:id="rId17"/>
    <p:sldId id="913" r:id="rId18"/>
    <p:sldId id="918" r:id="rId19"/>
    <p:sldId id="919" r:id="rId20"/>
    <p:sldId id="885" r:id="rId21"/>
    <p:sldId id="795" r:id="rId22"/>
  </p:sldIdLst>
  <p:sldSz cx="9144000" cy="5143500" type="screen16x9"/>
  <p:notesSz cx="9372600" cy="70866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636" userDrawn="1">
          <p15:clr>
            <a:srgbClr val="A4A3A4"/>
          </p15:clr>
        </p15:guide>
        <p15:guide id="2" orient="horz" pos="449">
          <p15:clr>
            <a:srgbClr val="A4A3A4"/>
          </p15:clr>
        </p15:guide>
        <p15:guide id="3" orient="horz" pos="2952">
          <p15:clr>
            <a:srgbClr val="A4A3A4"/>
          </p15:clr>
        </p15:guide>
        <p15:guide id="4" orient="horz" pos="308">
          <p15:clr>
            <a:srgbClr val="A4A3A4"/>
          </p15:clr>
        </p15:guide>
        <p15:guide id="5" orient="horz" pos="3178">
          <p15:clr>
            <a:srgbClr val="A4A3A4"/>
          </p15:clr>
        </p15:guide>
        <p15:guide id="6" orient="horz" pos="936">
          <p15:clr>
            <a:srgbClr val="A4A3A4"/>
          </p15:clr>
        </p15:guide>
        <p15:guide id="7" orient="horz" pos="2388" userDrawn="1">
          <p15:clr>
            <a:srgbClr val="A4A3A4"/>
          </p15:clr>
        </p15:guide>
        <p15:guide id="8" orient="horz" pos="756" userDrawn="1">
          <p15:clr>
            <a:srgbClr val="A4A3A4"/>
          </p15:clr>
        </p15:guide>
        <p15:guide id="9" pos="2220">
          <p15:clr>
            <a:srgbClr val="A4A3A4"/>
          </p15:clr>
        </p15:guide>
        <p15:guide id="10" pos="219">
          <p15:clr>
            <a:srgbClr val="A4A3A4"/>
          </p15:clr>
        </p15:guide>
        <p15:guide id="11" pos="5488">
          <p15:clr>
            <a:srgbClr val="A4A3A4"/>
          </p15:clr>
        </p15:guide>
        <p15:guide id="12" pos="2309">
          <p15:clr>
            <a:srgbClr val="A4A3A4"/>
          </p15:clr>
        </p15:guide>
        <p15:guide id="13" pos="388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237" userDrawn="1">
          <p15:clr>
            <a:srgbClr val="A4A3A4"/>
          </p15:clr>
        </p15:guide>
        <p15:guide id="2" pos="295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erri Sharp" initials="TS" lastIdx="17" clrIdx="0"/>
  <p:cmAuthor id="1" name="Sherwin Tolentino" initials="ST" lastIdx="2" clrIdx="1"/>
  <p:cmAuthor id="2" name="Caroline Kemp" initials="CK" lastIdx="15" clrIdx="2">
    <p:extLst/>
  </p:cmAuthor>
  <p:cmAuthor id="3" name="Brian Arbogast" initials="BA" lastIdx="9" clrIdx="3">
    <p:extLst/>
  </p:cmAuthor>
  <p:cmAuthor id="4" name="David Ehlert" initials="DE" lastIdx="146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02A00"/>
    <a:srgbClr val="CC3300"/>
    <a:srgbClr val="D1E2E9"/>
    <a:srgbClr val="941078"/>
    <a:srgbClr val="FFFFFF"/>
    <a:srgbClr val="EAE2CD"/>
    <a:srgbClr val="EFEDEE"/>
    <a:srgbClr val="3086AB"/>
    <a:srgbClr val="F2EDDE"/>
    <a:srgbClr val="F7F5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503" autoAdjust="0"/>
    <p:restoredTop sz="77025" autoAdjust="0"/>
  </p:normalViewPr>
  <p:slideViewPr>
    <p:cSldViewPr snapToGrid="0" showGuides="1">
      <p:cViewPr>
        <p:scale>
          <a:sx n="73" d="100"/>
          <a:sy n="73" d="100"/>
        </p:scale>
        <p:origin x="-724" y="-48"/>
      </p:cViewPr>
      <p:guideLst>
        <p:guide orient="horz" pos="636"/>
        <p:guide orient="horz" pos="449"/>
        <p:guide orient="horz" pos="2952"/>
        <p:guide orient="horz" pos="308"/>
        <p:guide orient="horz" pos="3178"/>
        <p:guide orient="horz" pos="936"/>
        <p:guide orient="horz" pos="2388"/>
        <p:guide orient="horz" pos="756"/>
        <p:guide pos="2220"/>
        <p:guide pos="219"/>
        <p:guide pos="5488"/>
        <p:guide pos="2309"/>
        <p:guide pos="388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111" d="100"/>
          <a:sy n="111" d="100"/>
        </p:scale>
        <p:origin x="900" y="96"/>
      </p:cViewPr>
      <p:guideLst>
        <p:guide orient="horz" pos="2237"/>
        <p:guide pos="295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ja-JP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ja-JP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</c:numCache>
            </c:numRef>
          </c:cat>
          <c:val>
            <c:numRef>
              <c:f>Sheet1!$B$2:$B$6</c:f>
              <c:numCache>
                <c:formatCode>General</c:formatCode>
                <c:ptCount val="5"/>
                <c:pt idx="0">
                  <c:v>3.8</c:v>
                </c:pt>
                <c:pt idx="1">
                  <c:v>5.94</c:v>
                </c:pt>
                <c:pt idx="2">
                  <c:v>35.6</c:v>
                </c:pt>
                <c:pt idx="3">
                  <c:v>65.44</c:v>
                </c:pt>
                <c:pt idx="4">
                  <c:v>75.4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120-4EC2-90EF-9F66647E5FC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3304064"/>
        <c:axId val="173318528"/>
      </c:barChart>
      <c:catAx>
        <c:axId val="173304064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Year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ja-JP"/>
          </a:p>
        </c:txPr>
        <c:crossAx val="173318528"/>
        <c:crosses val="autoZero"/>
        <c:auto val="1"/>
        <c:lblAlgn val="ctr"/>
        <c:lblOffset val="100"/>
        <c:noMultiLvlLbl val="0"/>
      </c:catAx>
      <c:valAx>
        <c:axId val="1733185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$ million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ja-JP"/>
          </a:p>
        </c:txPr>
        <c:crossAx val="1733040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ja-JP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88125" y="6578069"/>
            <a:ext cx="3430553" cy="354330"/>
          </a:xfrm>
          <a:prstGeom prst="rect">
            <a:avLst/>
          </a:prstGeom>
        </p:spPr>
        <p:txBody>
          <a:bodyPr vert="horz" lIns="94041" tIns="47019" rIns="94041" bIns="47019" rtlCol="0" anchor="b"/>
          <a:lstStyle>
            <a:lvl1pPr algn="l">
              <a:defRPr sz="1200"/>
            </a:lvl1pPr>
          </a:lstStyle>
          <a:p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© Bill &amp; Melinda Gates Found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308974" y="6578069"/>
            <a:ext cx="3499452" cy="354330"/>
          </a:xfrm>
          <a:prstGeom prst="rect">
            <a:avLst/>
          </a:prstGeom>
        </p:spPr>
        <p:txBody>
          <a:bodyPr vert="horz" lIns="94041" tIns="47019" rIns="94041" bIns="47019" rtlCol="0" anchor="b"/>
          <a:lstStyle>
            <a:lvl1pPr algn="r">
              <a:defRPr sz="1200"/>
            </a:lvl1pPr>
          </a:lstStyle>
          <a:p>
            <a:fld id="{D56DA0AC-102B-4398-8E7E-B2C936C1DD76}" type="slidenum">
              <a:rPr lang="en-US" sz="900"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Header Placeholder 16"/>
          <p:cNvSpPr>
            <a:spLocks noGrp="1"/>
          </p:cNvSpPr>
          <p:nvPr>
            <p:ph type="hdr" sz="quarter"/>
          </p:nvPr>
        </p:nvSpPr>
        <p:spPr>
          <a:xfrm>
            <a:off x="646763" y="264515"/>
            <a:ext cx="3414559" cy="354089"/>
          </a:xfrm>
          <a:prstGeom prst="rect">
            <a:avLst/>
          </a:prstGeom>
        </p:spPr>
        <p:txBody>
          <a:bodyPr vert="horz" lIns="92140" tIns="46072" rIns="92140" bIns="46072" rtlCol="0"/>
          <a:lstStyle>
            <a:lvl1pPr algn="l">
              <a:defRPr sz="1200"/>
            </a:lvl1pPr>
          </a:lstStyle>
          <a:p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Date Placeholder 17"/>
          <p:cNvSpPr>
            <a:spLocks noGrp="1"/>
          </p:cNvSpPr>
          <p:nvPr>
            <p:ph type="dt" sz="quarter" idx="1"/>
          </p:nvPr>
        </p:nvSpPr>
        <p:spPr>
          <a:xfrm>
            <a:off x="5345774" y="264515"/>
            <a:ext cx="3414559" cy="354089"/>
          </a:xfrm>
          <a:prstGeom prst="rect">
            <a:avLst/>
          </a:prstGeom>
        </p:spPr>
        <p:txBody>
          <a:bodyPr vert="horz" lIns="92140" tIns="46072" rIns="92140" bIns="46072" rtlCol="0"/>
          <a:lstStyle>
            <a:lvl1pPr algn="r">
              <a:defRPr sz="1200"/>
            </a:lvl1pPr>
          </a:lstStyle>
          <a:p>
            <a:fld id="{97049F91-F630-4ED4-8671-44E613DA70EF}" type="datetimeFigureOut">
              <a:rPr lang="en-US" sz="900">
                <a:latin typeface="Arial" panose="020B0604020202020204" pitchFamily="34" charset="0"/>
                <a:cs typeface="Arial" panose="020B0604020202020204" pitchFamily="34" charset="0"/>
              </a:rPr>
              <a:t>8/29/2017</a:t>
            </a:fld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295799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324100" y="531813"/>
            <a:ext cx="4724400" cy="26574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041" tIns="47019" rIns="94041" bIns="4701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5979" y="3366138"/>
            <a:ext cx="8335244" cy="318897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85316" y="6579673"/>
            <a:ext cx="3576147" cy="354330"/>
          </a:xfrm>
          <a:prstGeom prst="rect">
            <a:avLst/>
          </a:prstGeom>
        </p:spPr>
        <p:txBody>
          <a:bodyPr vert="horz" lIns="94041" tIns="47019" rIns="94041" bIns="47019" rtlCol="0" anchor="b"/>
          <a:lstStyle>
            <a:lvl1pPr algn="l"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© Bill &amp; Melinda Gates Found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308972" y="6579673"/>
            <a:ext cx="3705711" cy="354330"/>
          </a:xfrm>
          <a:prstGeom prst="rect">
            <a:avLst/>
          </a:prstGeom>
        </p:spPr>
        <p:txBody>
          <a:bodyPr vert="horz" lIns="94041" tIns="47019" rIns="94041" bIns="47019" rtlCol="0" anchor="b"/>
          <a:lstStyle>
            <a:lvl1pPr algn="r"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fld id="{9BFEC94F-12C8-4E9F-9CD8-BA76233A02B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Header Placeholder 16"/>
          <p:cNvSpPr>
            <a:spLocks noGrp="1"/>
          </p:cNvSpPr>
          <p:nvPr>
            <p:ph type="hdr" sz="quarter"/>
          </p:nvPr>
        </p:nvSpPr>
        <p:spPr>
          <a:xfrm>
            <a:off x="646763" y="139218"/>
            <a:ext cx="3414559" cy="354089"/>
          </a:xfrm>
          <a:prstGeom prst="rect">
            <a:avLst/>
          </a:prstGeom>
        </p:spPr>
        <p:txBody>
          <a:bodyPr vert="horz" lIns="92140" tIns="46072" rIns="92140" bIns="46072" rtlCol="0"/>
          <a:lstStyle>
            <a:lvl1pPr algn="l">
              <a:defRPr sz="1200"/>
            </a:lvl1pPr>
          </a:lstStyle>
          <a:p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Date Placeholder 17"/>
          <p:cNvSpPr>
            <a:spLocks noGrp="1"/>
          </p:cNvSpPr>
          <p:nvPr>
            <p:ph type="dt" sz="quarter" idx="1"/>
          </p:nvPr>
        </p:nvSpPr>
        <p:spPr>
          <a:xfrm>
            <a:off x="5345774" y="139218"/>
            <a:ext cx="3414559" cy="354089"/>
          </a:xfrm>
          <a:prstGeom prst="rect">
            <a:avLst/>
          </a:prstGeom>
        </p:spPr>
        <p:txBody>
          <a:bodyPr vert="horz" lIns="92140" tIns="46072" rIns="92140" bIns="46072" rtlCol="0"/>
          <a:lstStyle>
            <a:lvl1pPr algn="r">
              <a:defRPr sz="1200"/>
            </a:lvl1pPr>
          </a:lstStyle>
          <a:p>
            <a:fld id="{97049F91-F630-4ED4-8671-44E613DA70EF}" type="datetimeFigureOut">
              <a:rPr lang="en-US" sz="900" smtClean="0">
                <a:latin typeface="Arial" panose="020B0604020202020204" pitchFamily="34" charset="0"/>
                <a:cs typeface="Arial" panose="020B0604020202020204" pitchFamily="34" charset="0"/>
              </a:rPr>
              <a:t>8/29/2017</a:t>
            </a:fld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059508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indent="0" algn="l" defTabSz="914400" rtl="0" eaLnBrk="1" latinLnBrk="0" hangingPunct="1">
      <a:spcAft>
        <a:spcPts val="600"/>
      </a:spcAft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spcAft>
        <a:spcPts val="600"/>
      </a:spcAft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spcAft>
        <a:spcPts val="600"/>
      </a:spcAft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spcAft>
        <a:spcPts val="600"/>
      </a:spcAft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spcAft>
        <a:spcPts val="600"/>
      </a:spcAft>
      <a:defRPr sz="9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E324577-A7F4-4E1A-BA81-064FF7DE7259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276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60363" y="687388"/>
            <a:ext cx="6240462" cy="3509962"/>
          </a:xfrm>
          <a:ln/>
        </p:spPr>
      </p:sp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0360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Bill &amp; Melinda Gates Found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FEC94F-12C8-4E9F-9CD8-BA76233A02B3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53171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Bill &amp; Melinda Gates Found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FEC94F-12C8-4E9F-9CD8-BA76233A02B3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15098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921441">
              <a:spcAft>
                <a:spcPts val="605"/>
              </a:spcAft>
              <a:buFontTx/>
              <a:buNone/>
              <a:defRPr/>
            </a:pPr>
            <a:r>
              <a:rPr lang="en-US" dirty="0"/>
              <a:t>Sewerage</a:t>
            </a:r>
          </a:p>
          <a:p>
            <a:pPr marL="171450" indent="-171450" defTabSz="921441">
              <a:spcAft>
                <a:spcPts val="605"/>
              </a:spcAft>
              <a:buFontTx/>
              <a:buChar char="-"/>
              <a:defRPr/>
            </a:pPr>
            <a:r>
              <a:rPr lang="en-US" dirty="0"/>
              <a:t>Sewerage system</a:t>
            </a:r>
            <a:r>
              <a:rPr lang="en-US" baseline="0" dirty="0"/>
              <a:t> is still a priority, people believe that sewerage is the only solution and NSS is only a temporary</a:t>
            </a:r>
          </a:p>
          <a:p>
            <a:pPr marL="171450" indent="-171450" defTabSz="921441">
              <a:spcAft>
                <a:spcPts val="605"/>
              </a:spcAft>
              <a:buFontTx/>
              <a:buChar char="-"/>
              <a:defRPr/>
            </a:pPr>
            <a:r>
              <a:rPr lang="en-US" baseline="0" dirty="0"/>
              <a:t>Most of the urban infrastructure projects sewerage and wastewater treatment plants are the major investment </a:t>
            </a:r>
          </a:p>
          <a:p>
            <a:pPr marL="0" indent="0" defTabSz="921441">
              <a:spcAft>
                <a:spcPts val="605"/>
              </a:spcAft>
              <a:buFontTx/>
              <a:buNone/>
              <a:defRPr/>
            </a:pPr>
            <a:r>
              <a:rPr lang="en-US" baseline="0" dirty="0"/>
              <a:t>NSS</a:t>
            </a:r>
          </a:p>
          <a:p>
            <a:pPr marL="171450" indent="-171450" defTabSz="921441">
              <a:spcAft>
                <a:spcPts val="605"/>
              </a:spcAft>
              <a:buFontTx/>
              <a:buChar char="-"/>
              <a:defRPr/>
            </a:pPr>
            <a:r>
              <a:rPr lang="en-US" baseline="0" dirty="0"/>
              <a:t>No or little investment on FSTP only</a:t>
            </a:r>
          </a:p>
          <a:p>
            <a:pPr marL="171450" indent="-171450" defTabSz="921441">
              <a:spcAft>
                <a:spcPts val="605"/>
              </a:spcAft>
              <a:buFontTx/>
              <a:buChar char="-"/>
              <a:defRPr/>
            </a:pPr>
            <a:r>
              <a:rPr lang="en-US" baseline="0" dirty="0"/>
              <a:t>Large projects do not consider FSM needs to be included</a:t>
            </a:r>
          </a:p>
          <a:p>
            <a:pPr marL="171450" indent="-171450" defTabSz="921441">
              <a:spcAft>
                <a:spcPts val="605"/>
              </a:spcAft>
              <a:buFontTx/>
              <a:buChar char="-"/>
              <a:defRPr/>
            </a:pPr>
            <a:r>
              <a:rPr lang="en-US" baseline="0" dirty="0"/>
              <a:t>Consulting companies do know how to address FSM in large projects</a:t>
            </a:r>
          </a:p>
          <a:p>
            <a:pPr marL="171450" indent="-171450" defTabSz="921441">
              <a:spcAft>
                <a:spcPts val="605"/>
              </a:spcAft>
              <a:buFontTx/>
              <a:buChar char="-"/>
              <a:defRPr/>
            </a:pPr>
            <a:r>
              <a:rPr lang="en-US" baseline="0" dirty="0"/>
              <a:t>NSS is considered as HHs busines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Bill &amp; Melinda Gates Found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FEC94F-12C8-4E9F-9CD8-BA76233A02B3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88679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21441">
              <a:spcAft>
                <a:spcPts val="605"/>
              </a:spcAft>
              <a:defRPr/>
            </a:pP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Bill &amp; Melinda Gates Found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FEC94F-12C8-4E9F-9CD8-BA76233A02B3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45932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© Bill &amp; Melinda Gates Found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BFEC94F-12C8-4E9F-9CD8-BA76233A02B3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9925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Bill &amp; Melinda Gates Found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A5C9E8-9674-4350-989A-CBF182CF309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96884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7988" y="698500"/>
            <a:ext cx="6207125" cy="3490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Photo ID: coming via Stephen</a:t>
            </a:r>
            <a:r>
              <a:rPr lang="en-US" baseline="0" dirty="0"/>
              <a:t> Walter</a:t>
            </a:r>
            <a:endParaRPr lang="en-US" dirty="0"/>
          </a:p>
          <a:p>
            <a:r>
              <a:rPr lang="en-US" sz="9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A young boy in Pune, India, 2014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B263312-38AA-4E1E-B2B5-0F8F122B24FE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© Bill </a:t>
            </a:r>
            <a:r>
              <a:rPr lang="en-US" dirty="0">
                <a:solidFill>
                  <a:prstClr val="black"/>
                </a:solidFill>
              </a:rPr>
              <a:t>&amp; Melinda Gates Foundation</a:t>
            </a:r>
          </a:p>
        </p:txBody>
      </p:sp>
    </p:spTree>
    <p:extLst>
      <p:ext uri="{BB962C8B-B14F-4D97-AF65-F5344CB8AC3E}">
        <p14:creationId xmlns:p14="http://schemas.microsoft.com/office/powerpoint/2010/main" val="41143287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4.bin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1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2.bin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3.bin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44776"/>
            <a:ext cx="4140200" cy="847549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722335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6062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4" y="3493008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>
                <a:solidFill>
                  <a:schemeClr val="bg1"/>
                </a:solidFill>
              </a:defRPr>
            </a:lvl1pPr>
          </a:lstStyle>
          <a:p>
            <a:pPr algn="r"/>
            <a:r>
              <a:rPr lang="en-US" dirty="0"/>
              <a:t>© 2014 Bill &amp; Melinda Gates Foundation</a:t>
            </a:r>
          </a:p>
        </p:txBody>
      </p:sp>
    </p:spTree>
    <p:extLst>
      <p:ext uri="{BB962C8B-B14F-4D97-AF65-F5344CB8AC3E}">
        <p14:creationId xmlns:p14="http://schemas.microsoft.com/office/powerpoint/2010/main" val="2403606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3" y="0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638424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7" y="871711"/>
            <a:ext cx="8329613" cy="450099"/>
          </a:xfrm>
        </p:spPr>
        <p:txBody>
          <a:bodyPr/>
          <a:lstStyle>
            <a:lvl1pPr marL="0" indent="0">
              <a:buNone/>
              <a:defRPr sz="938" baseline="0"/>
            </a:lvl1pPr>
            <a:lvl2pPr marL="0" indent="0">
              <a:buFont typeface="Arial" panose="020B0604020202020204" pitchFamily="34" charset="0"/>
              <a:buNone/>
              <a:defRPr sz="938"/>
            </a:lvl2pPr>
            <a:lvl3pPr marL="0" indent="0">
              <a:buNone/>
              <a:defRPr sz="938"/>
            </a:lvl3pPr>
            <a:lvl4pPr marL="0" indent="0">
              <a:buNone/>
              <a:defRPr sz="938"/>
            </a:lvl4pPr>
            <a:lvl5pPr marL="0" indent="0">
              <a:buNone/>
              <a:defRPr sz="938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6" y="1462090"/>
            <a:ext cx="8329613" cy="3216275"/>
          </a:xfrm>
        </p:spPr>
        <p:txBody>
          <a:bodyPr tIns="1097280"/>
          <a:lstStyle>
            <a:lvl1pPr marL="0" indent="0" algn="ctr">
              <a:buNone/>
              <a:defRPr sz="900" baseline="0"/>
            </a:lvl1pPr>
            <a:lvl2pPr marL="0" indent="0">
              <a:buFont typeface="Arial" panose="020B0604020202020204" pitchFamily="34" charset="0"/>
              <a:buNone/>
              <a:defRPr sz="900"/>
            </a:lvl2pPr>
            <a:lvl3pPr marL="0" indent="0">
              <a:buNone/>
              <a:defRPr sz="900"/>
            </a:lvl3pPr>
            <a:lvl4pPr marL="0" indent="0">
              <a:buNone/>
              <a:defRPr sz="900"/>
            </a:lvl4pPr>
            <a:lvl5pPr marL="0" indent="0">
              <a:buNone/>
              <a:defRPr sz="900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6" y="484632"/>
            <a:ext cx="8329613" cy="38193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  <p:sp>
        <p:nvSpPr>
          <p:cNvPr id="8" name="Footer Placeholder 3"/>
          <p:cNvSpPr txBox="1">
            <a:spLocks/>
          </p:cNvSpPr>
          <p:nvPr userDrawn="1"/>
        </p:nvSpPr>
        <p:spPr>
          <a:xfrm>
            <a:off x="365125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375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232275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1289051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3170238" cy="3389313"/>
          </a:xfrm>
        </p:spPr>
        <p:txBody>
          <a:bodyPr/>
          <a:lstStyle>
            <a:lvl1pPr>
              <a:spcBef>
                <a:spcPts val="450"/>
              </a:spcBef>
              <a:spcAft>
                <a:spcPts val="0"/>
              </a:spcAft>
              <a:defRPr sz="1050" b="0"/>
            </a:lvl1pPr>
            <a:lvl2pPr>
              <a:spcBef>
                <a:spcPts val="450"/>
              </a:spcBef>
              <a:spcAft>
                <a:spcPts val="0"/>
              </a:spcAft>
              <a:defRPr sz="975" baseline="0"/>
            </a:lvl2pPr>
            <a:lvl3pPr>
              <a:spcBef>
                <a:spcPts val="450"/>
              </a:spcBef>
              <a:spcAft>
                <a:spcPts val="0"/>
              </a:spcAft>
              <a:buClr>
                <a:srgbClr val="3086AB"/>
              </a:buClr>
              <a:defRPr sz="900"/>
            </a:lvl3pPr>
            <a:lvl4pPr marL="386943" indent="-128585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45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6" y="484693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365125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375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972364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2"/>
            <a:ext cx="3170238" cy="3389314"/>
          </a:xfrm>
        </p:spPr>
        <p:txBody>
          <a:bodyPr/>
          <a:lstStyle>
            <a:lvl1pPr>
              <a:spcBef>
                <a:spcPts val="450"/>
              </a:spcBef>
              <a:spcAft>
                <a:spcPts val="0"/>
              </a:spcAft>
              <a:buClr>
                <a:srgbClr val="2F85AA"/>
              </a:buClr>
              <a:defRPr sz="1050" b="0" baseline="0"/>
            </a:lvl1pPr>
            <a:lvl2pPr>
              <a:spcBef>
                <a:spcPts val="450"/>
              </a:spcBef>
              <a:spcAft>
                <a:spcPts val="0"/>
              </a:spcAft>
              <a:defRPr sz="975" baseline="0"/>
            </a:lvl2pPr>
            <a:lvl3pPr>
              <a:spcBef>
                <a:spcPts val="450"/>
              </a:spcBef>
              <a:spcAft>
                <a:spcPts val="0"/>
              </a:spcAft>
              <a:buClr>
                <a:srgbClr val="3086AB"/>
              </a:buClr>
              <a:defRPr sz="900" baseline="0"/>
            </a:lvl3pPr>
            <a:lvl4pPr marL="386943" indent="-128585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514337" indent="-128585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65125" y="484693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488952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365125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375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874864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2"/>
            <a:ext cx="3170238" cy="3389314"/>
          </a:xfrm>
        </p:spPr>
        <p:txBody>
          <a:bodyPr/>
          <a:lstStyle>
            <a:lvl1pPr>
              <a:spcBef>
                <a:spcPts val="450"/>
              </a:spcBef>
              <a:spcAft>
                <a:spcPts val="0"/>
              </a:spcAft>
              <a:buClr>
                <a:srgbClr val="2F85AA"/>
              </a:buClr>
              <a:defRPr sz="1050" b="0" baseline="0"/>
            </a:lvl1pPr>
            <a:lvl2pPr>
              <a:spcBef>
                <a:spcPts val="450"/>
              </a:spcBef>
              <a:spcAft>
                <a:spcPts val="0"/>
              </a:spcAft>
              <a:defRPr sz="975" baseline="0"/>
            </a:lvl2pPr>
            <a:lvl3pPr>
              <a:spcBef>
                <a:spcPts val="45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386943" indent="-128585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514337" indent="-128585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5" y="0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93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365125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375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659420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4104549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44776"/>
            <a:ext cx="4140200" cy="847549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722335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6062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4" y="3493008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>
                <a:solidFill>
                  <a:schemeClr val="bg1"/>
                </a:solidFill>
              </a:defRPr>
            </a:lvl1pPr>
          </a:lstStyle>
          <a:p>
            <a:pPr algn="r"/>
            <a:r>
              <a:rPr lang="en-US" dirty="0"/>
              <a:t>© 2014 Bill &amp; Melinda Gates Foundation</a:t>
            </a:r>
          </a:p>
        </p:txBody>
      </p:sp>
    </p:spTree>
    <p:extLst>
      <p:ext uri="{BB962C8B-B14F-4D97-AF65-F5344CB8AC3E}">
        <p14:creationId xmlns:p14="http://schemas.microsoft.com/office/powerpoint/2010/main" val="111633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04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5" y="2626207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5" y="4059936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5" y="3493008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25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/>
            </a:lvl1pPr>
          </a:lstStyle>
          <a:p>
            <a:pPr algn="r"/>
            <a:r>
              <a:rPr lang="en-US" dirty="0"/>
              <a:t>© 2014 Bill &amp; Melinda Gates Foundation</a:t>
            </a:r>
          </a:p>
        </p:txBody>
      </p:sp>
    </p:spTree>
    <p:extLst>
      <p:ext uri="{BB962C8B-B14F-4D97-AF65-F5344CB8AC3E}">
        <p14:creationId xmlns:p14="http://schemas.microsoft.com/office/powerpoint/2010/main" val="1520248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3400"/>
              </a:lnSpc>
              <a:spcBef>
                <a:spcPts val="1200"/>
              </a:spcBef>
              <a:buNone/>
              <a:defRPr lang="en-US" sz="3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81621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4" y="1289050"/>
            <a:ext cx="8329613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 baseline="0"/>
            </a:lvl1pPr>
            <a:lvl2pPr marL="171450" indent="-171450"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38" indent="-173038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6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4839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4" y="1139720"/>
            <a:ext cx="8329613" cy="298660"/>
          </a:xfrm>
        </p:spPr>
        <p:txBody>
          <a:bodyPr/>
          <a:lstStyle>
            <a:lvl1pPr>
              <a:lnSpc>
                <a:spcPts val="1600"/>
              </a:lnSpc>
              <a:spcBef>
                <a:spcPts val="0"/>
              </a:spcBef>
              <a:defRPr sz="1400" b="1" baseline="0"/>
            </a:lvl1pPr>
            <a:lvl2pPr marL="171450" indent="-171450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38" indent="-173038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5" y="1528723"/>
            <a:ext cx="8347075" cy="3166203"/>
          </a:xfrm>
        </p:spPr>
        <p:txBody>
          <a:bodyPr/>
          <a:lstStyle>
            <a:lvl1pPr>
              <a:spcBef>
                <a:spcPts val="600"/>
              </a:spcBef>
              <a:defRPr sz="1300"/>
            </a:lvl1pPr>
            <a:lvl2pPr>
              <a:spcBef>
                <a:spcPts val="600"/>
              </a:spcBef>
              <a:defRPr sz="13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100"/>
            </a:lvl4pPr>
            <a:lvl5pPr>
              <a:spcBef>
                <a:spcPts val="6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1243904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3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3665539" y="2635250"/>
            <a:ext cx="1825832" cy="250825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5558829" y="2635250"/>
            <a:ext cx="3585172" cy="250825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65538" y="0"/>
            <a:ext cx="5478462" cy="254203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3414158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8" y="534708"/>
            <a:ext cx="5046662" cy="4151592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46374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5" y="871710"/>
            <a:ext cx="8329613" cy="450099"/>
          </a:xfrm>
        </p:spPr>
        <p:txBody>
          <a:bodyPr/>
          <a:lstStyle>
            <a:lvl1pPr marL="0" indent="0">
              <a:buNone/>
              <a:defRPr sz="1250" baseline="0"/>
            </a:lvl1pPr>
            <a:lvl2pPr marL="0" indent="0">
              <a:buFont typeface="Arial" panose="020B0604020202020204" pitchFamily="34" charset="0"/>
              <a:buNone/>
              <a:defRPr sz="1250"/>
            </a:lvl2pPr>
            <a:lvl3pPr marL="0" indent="0">
              <a:buNone/>
              <a:defRPr sz="1250"/>
            </a:lvl3pPr>
            <a:lvl4pPr marL="0" indent="0">
              <a:buNone/>
              <a:defRPr sz="1250"/>
            </a:lvl4pPr>
            <a:lvl5pPr marL="0" indent="0">
              <a:buNone/>
              <a:defRPr sz="1250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4" y="1462088"/>
            <a:ext cx="8329613" cy="3216275"/>
          </a:xfrm>
        </p:spPr>
        <p:txBody>
          <a:bodyPr tIns="1097280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38193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</p:spTree>
    <p:extLst>
      <p:ext uri="{BB962C8B-B14F-4D97-AF65-F5344CB8AC3E}">
        <p14:creationId xmlns:p14="http://schemas.microsoft.com/office/powerpoint/2010/main" val="1958149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1289050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308274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dirty="0"/>
              <a:t>© Bill &amp; Melinda Gates Foundation      |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488950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</p:spTree>
    <p:extLst>
      <p:ext uri="{BB962C8B-B14F-4D97-AF65-F5344CB8AC3E}">
        <p14:creationId xmlns:p14="http://schemas.microsoft.com/office/powerpoint/2010/main" val="3046672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3" y="0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2034158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3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3665539" y="2635250"/>
            <a:ext cx="1825832" cy="250825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5558829" y="2635250"/>
            <a:ext cx="3585172" cy="250825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65538" y="0"/>
            <a:ext cx="5478462" cy="254203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2641214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4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7325138" y="0"/>
            <a:ext cx="1818861" cy="254203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3665538" y="0"/>
            <a:ext cx="3599965" cy="254203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3665539" y="2601468"/>
            <a:ext cx="1825832" cy="254203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5560943" y="2601468"/>
            <a:ext cx="3583057" cy="254203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2662391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5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7360920" y="0"/>
            <a:ext cx="1783080" cy="2551113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3665537" y="0"/>
            <a:ext cx="3629785" cy="2551113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5513229" y="2611438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3665538" y="2611439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7360920" y="2609253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06821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6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7360920" y="0"/>
            <a:ext cx="1783080" cy="1704561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3665537" y="0"/>
            <a:ext cx="3629785" cy="3096039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7360920" y="1764194"/>
            <a:ext cx="1783080" cy="1331845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on the icon to insert a new photo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5513229" y="3155673"/>
            <a:ext cx="1783080" cy="199001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3665538" y="3155674"/>
            <a:ext cx="1783080" cy="199001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7360920" y="3153488"/>
            <a:ext cx="1783080" cy="199001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3114026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6 Image Grid-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5513229" y="2611438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3665538" y="2611439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7360920" y="2609253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5513229" y="2185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3665538" y="2186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1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7360920" y="0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94199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4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7325138" y="0"/>
            <a:ext cx="1818861" cy="254203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3665538" y="0"/>
            <a:ext cx="3599965" cy="254203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3665539" y="2601468"/>
            <a:ext cx="1825832" cy="254203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5560943" y="2601468"/>
            <a:ext cx="3583057" cy="254203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3629668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4" y="3687417"/>
            <a:ext cx="8329613" cy="100523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 baseline="0"/>
            </a:lvl1pPr>
            <a:lvl2pPr marL="171450" indent="-171450"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38" indent="-173038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6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357188" y="1198563"/>
            <a:ext cx="8355012" cy="2369585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2179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94584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4" y="1128091"/>
            <a:ext cx="8329613" cy="383742"/>
          </a:xfrm>
        </p:spPr>
        <p:txBody>
          <a:bodyPr/>
          <a:lstStyle>
            <a:lvl1pPr>
              <a:spcBef>
                <a:spcPts val="600"/>
              </a:spcBef>
              <a:defRPr sz="1400" b="0" baseline="0"/>
            </a:lvl1pPr>
            <a:lvl2pPr marL="171450" indent="-171450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38" indent="-173038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336"/>
              </a:spcBef>
              <a:defRPr baseline="0"/>
            </a:lvl5pPr>
          </a:lstStyle>
          <a:p>
            <a:pPr lvl="0"/>
            <a:r>
              <a:rPr lang="en-US"/>
              <a:t>Explanatory text goes here, up to 2 lines. This slide accommodates 21 headshots.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57188" y="157513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2839338" y="157513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321488" y="157513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803635" y="157513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47075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HEADSHOT SLIDE (MAX OF 21)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598263" y="157513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0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080413" y="157513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562563" y="157513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57188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839338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5321488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7803635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1598263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4080413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562563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357188" y="3774357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839338" y="3774357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5321488" y="3774357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7803635" y="3774357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1598263" y="3774357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4080413" y="3774357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562563" y="3774357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880686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/>
              <a:t>© Bill &amp; Melinda Gates Foundation      |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188" y="121443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1788238" y="194552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18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357188" y="278288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19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1788238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20" name="Picture Placeholder 20"/>
          <p:cNvSpPr>
            <a:spLocks noGrp="1"/>
          </p:cNvSpPr>
          <p:nvPr>
            <p:ph type="pic" sz="quarter" idx="20" hasCustomPrompt="1"/>
          </p:nvPr>
        </p:nvSpPr>
        <p:spPr>
          <a:xfrm>
            <a:off x="3193271" y="121443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22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4624321" y="194552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30" name="Picture Placeholder 20"/>
          <p:cNvSpPr>
            <a:spLocks noGrp="1"/>
          </p:cNvSpPr>
          <p:nvPr>
            <p:ph type="pic" sz="quarter" idx="22" hasCustomPrompt="1"/>
          </p:nvPr>
        </p:nvSpPr>
        <p:spPr>
          <a:xfrm>
            <a:off x="3193271" y="278288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31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24321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32" name="Picture Placeholder 20"/>
          <p:cNvSpPr>
            <a:spLocks noGrp="1"/>
          </p:cNvSpPr>
          <p:nvPr>
            <p:ph type="pic" sz="quarter" idx="24" hasCustomPrompt="1"/>
          </p:nvPr>
        </p:nvSpPr>
        <p:spPr>
          <a:xfrm>
            <a:off x="6015759" y="121443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7446809" y="194552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34" name="Picture Placeholder 20"/>
          <p:cNvSpPr>
            <a:spLocks noGrp="1"/>
          </p:cNvSpPr>
          <p:nvPr>
            <p:ph type="pic" sz="quarter" idx="26" hasCustomPrompt="1"/>
          </p:nvPr>
        </p:nvSpPr>
        <p:spPr>
          <a:xfrm>
            <a:off x="6015759" y="278288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7" hasCustomPrompt="1"/>
          </p:nvPr>
        </p:nvSpPr>
        <p:spPr>
          <a:xfrm>
            <a:off x="7446809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47075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HEADSHOT SLIDE (MAX OF 5 – SPEAKER OR TEAM LAYOUT</a:t>
            </a:r>
          </a:p>
        </p:txBody>
      </p:sp>
    </p:spTree>
    <p:extLst>
      <p:ext uri="{BB962C8B-B14F-4D97-AF65-F5344CB8AC3E}">
        <p14:creationId xmlns:p14="http://schemas.microsoft.com/office/powerpoint/2010/main" val="406525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8" y="3299828"/>
            <a:ext cx="8355012" cy="1464260"/>
          </a:xfrm>
        </p:spPr>
        <p:txBody>
          <a:bodyPr anchor="t"/>
          <a:lstStyle>
            <a:lvl1pPr marL="0" indent="0">
              <a:spcBef>
                <a:spcPts val="600"/>
              </a:spcBef>
              <a:buNone/>
              <a:defRPr sz="1400" b="0" baseline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Insert explanatory copy here.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57188" y="2946461"/>
            <a:ext cx="8355012" cy="34939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Insert subtitle here – recommend a limit of 1 lin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5967779" y="1287587"/>
            <a:ext cx="2742652" cy="1563563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3166345" y="1292809"/>
            <a:ext cx="2739888" cy="1558341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65408" y="1290434"/>
            <a:ext cx="2740475" cy="1560716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346197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8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50" indent="-17145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000" baseline="0"/>
            </a:lvl2pPr>
            <a:lvl3pPr marL="341313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00050" algn="l"/>
              </a:tabLst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Key word</a:t>
            </a:r>
          </a:p>
          <a:p>
            <a:pPr lvl="1"/>
            <a:r>
              <a:rPr lang="en-US"/>
              <a:t>Insert descriptive text here</a:t>
            </a:r>
          </a:p>
          <a:p>
            <a:pPr lvl="2"/>
            <a:r>
              <a:rPr lang="en-US"/>
              <a:t>Level 2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63814" y="1142093"/>
            <a:ext cx="8355012" cy="468046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Insert explanatory copy her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4663194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2510191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188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33" name="Picture Placeholder 20"/>
          <p:cNvSpPr>
            <a:spLocks noGrp="1"/>
          </p:cNvSpPr>
          <p:nvPr>
            <p:ph type="pic" sz="quarter" idx="21" hasCustomPrompt="1"/>
          </p:nvPr>
        </p:nvSpPr>
        <p:spPr>
          <a:xfrm>
            <a:off x="6832537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22" hasCustomPrompt="1"/>
          </p:nvPr>
        </p:nvSpPr>
        <p:spPr>
          <a:xfrm>
            <a:off x="2510191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50" indent="-171450">
              <a:spcBef>
                <a:spcPts val="600"/>
              </a:spcBef>
              <a:buFont typeface="Wingdings" panose="05000000000000000000" pitchFamily="2" charset="2"/>
              <a:buChar char="§"/>
              <a:defRPr sz="1000" baseline="0"/>
            </a:lvl2pPr>
            <a:lvl3pPr marL="341313" indent="-171450"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Key word</a:t>
            </a:r>
          </a:p>
          <a:p>
            <a:pPr lvl="1"/>
            <a:r>
              <a:rPr lang="en-US"/>
              <a:t>Insert descriptive text here</a:t>
            </a:r>
          </a:p>
          <a:p>
            <a:pPr lvl="2"/>
            <a:r>
              <a:rPr lang="en-US"/>
              <a:t>Level 2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63194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50" indent="-171450">
              <a:spcBef>
                <a:spcPts val="600"/>
              </a:spcBef>
              <a:buFont typeface="Wingdings" panose="05000000000000000000" pitchFamily="2" charset="2"/>
              <a:buChar char="§"/>
              <a:defRPr sz="1000" baseline="0"/>
            </a:lvl2pPr>
            <a:lvl3pPr marL="341313" indent="-171450"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Key word</a:t>
            </a:r>
          </a:p>
          <a:p>
            <a:pPr lvl="1"/>
            <a:r>
              <a:rPr lang="en-US"/>
              <a:t>Insert descriptive text here</a:t>
            </a:r>
          </a:p>
          <a:p>
            <a:pPr lvl="2"/>
            <a:r>
              <a:rPr lang="en-US"/>
              <a:t>Level 2</a:t>
            </a:r>
          </a:p>
        </p:txBody>
      </p:sp>
      <p:sp>
        <p:nvSpPr>
          <p:cNvPr id="36" name="Text Placeholder 22"/>
          <p:cNvSpPr>
            <a:spLocks noGrp="1"/>
          </p:cNvSpPr>
          <p:nvPr>
            <p:ph type="body" sz="quarter" idx="24" hasCustomPrompt="1"/>
          </p:nvPr>
        </p:nvSpPr>
        <p:spPr>
          <a:xfrm>
            <a:off x="6841681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50" indent="-171450">
              <a:spcBef>
                <a:spcPts val="600"/>
              </a:spcBef>
              <a:buFont typeface="Wingdings" panose="05000000000000000000" pitchFamily="2" charset="2"/>
              <a:buChar char="§"/>
              <a:defRPr sz="1000" baseline="0"/>
            </a:lvl2pPr>
            <a:lvl3pPr marL="341313" indent="-171450"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Key word</a:t>
            </a:r>
          </a:p>
          <a:p>
            <a:pPr lvl="1"/>
            <a:r>
              <a:rPr lang="en-US"/>
              <a:t>Insert descriptive text here</a:t>
            </a:r>
          </a:p>
          <a:p>
            <a:pPr lvl="2"/>
            <a:r>
              <a:rPr lang="en-US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1012527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5356" y="1131570"/>
            <a:ext cx="8271775" cy="3463290"/>
          </a:xfrm>
        </p:spPr>
        <p:txBody>
          <a:bodyPr/>
          <a:lstStyle>
            <a:lvl1pPr>
              <a:spcBef>
                <a:spcPts val="288"/>
              </a:spcBef>
              <a:defRPr/>
            </a:lvl1pPr>
            <a:lvl2pPr marL="342900" indent="-172800">
              <a:spcBef>
                <a:spcPts val="288"/>
              </a:spcBef>
              <a:defRPr/>
            </a:lvl2pPr>
            <a:lvl3pPr marL="685800" indent="-172800">
              <a:spcBef>
                <a:spcPts val="288"/>
              </a:spcBef>
              <a:defRPr/>
            </a:lvl3pPr>
            <a:lvl4pPr marL="1031400" indent="-175500">
              <a:spcBef>
                <a:spcPts val="288"/>
              </a:spcBef>
              <a:defRPr/>
            </a:lvl4pPr>
            <a:lvl5pPr marL="1544400" indent="-172800">
              <a:spcBef>
                <a:spcPts val="288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717363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2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4728" name="Rectangle 15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Gates-logo.png"/>
          <p:cNvPicPr>
            <a:picLocks noChangeAspect="1"/>
          </p:cNvPicPr>
          <p:nvPr userDrawn="1"/>
        </p:nvPicPr>
        <p:blipFill>
          <a:blip r:embed="rId5" cstate="email"/>
          <a:stretch>
            <a:fillRect/>
          </a:stretch>
        </p:blipFill>
        <p:spPr>
          <a:xfrm>
            <a:off x="7460916" y="28576"/>
            <a:ext cx="1251283" cy="1251283"/>
          </a:xfrm>
          <a:prstGeom prst="rect">
            <a:avLst/>
          </a:prstGeom>
        </p:spPr>
      </p:pic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5" y="4059936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 b="0">
                <a:solidFill>
                  <a:schemeClr val="bg1">
                    <a:lumMod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Presenters (Arial 12 pt, gray)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65125" y="1864704"/>
            <a:ext cx="8347074" cy="711809"/>
          </a:xfr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300"/>
              </a:lnSpc>
              <a:spcBef>
                <a:spcPct val="0"/>
              </a:spcBef>
              <a:buNone/>
              <a:defRPr lang="en-US" sz="2300" b="0" kern="1200" cap="all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defTabSz="914400" rtl="0" eaLnBrk="1" latinLnBrk="0" hangingPunct="1">
              <a:lnSpc>
                <a:spcPts val="2300"/>
              </a:lnSpc>
              <a:spcBef>
                <a:spcPct val="0"/>
              </a:spcBef>
              <a:buNone/>
              <a:defRPr lang="en-US" sz="2300" b="0" kern="1200" cap="all" baseline="0" dirty="0" smtClean="0">
                <a:solidFill>
                  <a:schemeClr val="accent6"/>
                </a:solidFill>
                <a:latin typeface="Arial" pitchFamily="34" charset="0"/>
                <a:ea typeface="+mj-ea"/>
                <a:cs typeface="Arial" pitchFamily="34" charset="0"/>
              </a:defRPr>
            </a:lvl2pPr>
            <a:lvl3pPr algn="l" defTabSz="914400" rtl="0" eaLnBrk="1" latinLnBrk="0" hangingPunct="1">
              <a:lnSpc>
                <a:spcPts val="2300"/>
              </a:lnSpc>
              <a:spcBef>
                <a:spcPct val="0"/>
              </a:spcBef>
              <a:buNone/>
              <a:defRPr lang="en-US" sz="2300" b="0" kern="1200" cap="all" baseline="0" dirty="0" smtClean="0">
                <a:solidFill>
                  <a:schemeClr val="accent6"/>
                </a:solidFill>
                <a:latin typeface="Arial" pitchFamily="34" charset="0"/>
                <a:ea typeface="+mj-ea"/>
                <a:cs typeface="Arial" pitchFamily="34" charset="0"/>
              </a:defRPr>
            </a:lvl3pPr>
            <a:lvl4pPr algn="l" defTabSz="914400" rtl="0" eaLnBrk="1" latinLnBrk="0" hangingPunct="1">
              <a:lnSpc>
                <a:spcPts val="2300"/>
              </a:lnSpc>
              <a:spcBef>
                <a:spcPct val="0"/>
              </a:spcBef>
              <a:buNone/>
              <a:defRPr lang="en-US" sz="2300" b="0" kern="1200" cap="all" baseline="0" dirty="0" smtClean="0">
                <a:solidFill>
                  <a:schemeClr val="accent6"/>
                </a:solidFill>
                <a:latin typeface="Arial" pitchFamily="34" charset="0"/>
                <a:ea typeface="+mj-ea"/>
                <a:cs typeface="Arial" pitchFamily="34" charset="0"/>
              </a:defRPr>
            </a:lvl4pPr>
            <a:lvl5pPr algn="l" defTabSz="914400" rtl="0" eaLnBrk="1" latinLnBrk="0" hangingPunct="1">
              <a:lnSpc>
                <a:spcPts val="2300"/>
              </a:lnSpc>
              <a:spcBef>
                <a:spcPct val="0"/>
              </a:spcBef>
              <a:buNone/>
              <a:defRPr lang="en-US" sz="2300" b="0" kern="1200" cap="all" baseline="0" dirty="0" smtClean="0">
                <a:solidFill>
                  <a:schemeClr val="accent6"/>
                </a:solidFill>
                <a:latin typeface="Arial" pitchFamily="34" charset="0"/>
                <a:ea typeface="+mj-ea"/>
                <a:cs typeface="Arial" pitchFamily="34" charset="0"/>
              </a:defRPr>
            </a:lvl5pPr>
          </a:lstStyle>
          <a:p>
            <a:pPr lvl="0"/>
            <a:r>
              <a:rPr lang="en-US" dirty="0"/>
              <a:t>Title in Uppercase (Arial 23 pt, Black)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5" y="2626206"/>
            <a:ext cx="8347075" cy="440163"/>
          </a:xfrm>
        </p:spPr>
        <p:txBody>
          <a:bodyPr vert="horz" lIns="0" tIns="0" rIns="0" bIns="0" rtlCol="0" anchor="ctr">
            <a:normAutofit/>
          </a:bodyPr>
          <a:lstStyle>
            <a:lvl1pPr marL="0" indent="0" algn="l" defTabSz="889000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lang="en-US" sz="1400" b="0" baseline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0" indent="0" algn="l" defTabSz="889000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lang="en-US" sz="1400" b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0" indent="0" algn="l" defTabSz="889000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lang="en-US" sz="1400" b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0" indent="0" algn="l" defTabSz="889000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lang="en-US" sz="1400" b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0" indent="0" algn="l" defTabSz="889000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lang="en-US" sz="1400" b="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n Title Case (Arial 14 pt, Red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365125" y="3493008"/>
            <a:ext cx="8347075" cy="274636"/>
          </a:xfrm>
        </p:spPr>
        <p:txBody>
          <a:bodyPr vert="horz" lIns="0" tIns="0" rIns="0" bIns="0" rtlCol="0" anchor="ctr"/>
          <a:lstStyle>
            <a:lvl1pPr algn="l" rtl="0" fontAlgn="base">
              <a:defRPr lang="en-US" sz="1200" b="0" kern="12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 (Arial 12 pt, gray)</a:t>
            </a:r>
          </a:p>
        </p:txBody>
      </p:sp>
    </p:spTree>
    <p:extLst>
      <p:ext uri="{BB962C8B-B14F-4D97-AF65-F5344CB8AC3E}">
        <p14:creationId xmlns:p14="http://schemas.microsoft.com/office/powerpoint/2010/main" val="100294141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24" y="472178"/>
            <a:ext cx="8329613" cy="52318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13240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2" name="Shape 12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72568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591241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5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7360920" y="0"/>
            <a:ext cx="1783080" cy="2551113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3665537" y="0"/>
            <a:ext cx="3629785" cy="2551113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5513229" y="2611438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3665538" y="2611439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7360920" y="2609253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69047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on the icon to insert a </a:t>
            </a:r>
            <a:br>
              <a:rPr lang="en-US"/>
            </a:br>
            <a:r>
              <a:rPr lang="en-US"/>
              <a:t>new photo. Detailed instructions </a:t>
            </a:r>
            <a:br>
              <a:rPr lang="en-US"/>
            </a:br>
            <a:r>
              <a:rPr lang="en-US"/>
              <a:t>can be found on the slide titled</a:t>
            </a:r>
            <a:br>
              <a:rPr lang="en-US"/>
            </a:br>
            <a:r>
              <a:rPr lang="en-US"/>
              <a:t>“CHANGING THE PHOTO ON </a:t>
            </a:r>
            <a:br>
              <a:rPr lang="en-US"/>
            </a:br>
            <a:r>
              <a:rPr lang="en-US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5" y="1844776"/>
            <a:ext cx="4140200" cy="847549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722335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6062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4" y="3493008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>
                <a:solidFill>
                  <a:schemeClr val="bg1"/>
                </a:solidFill>
              </a:defRPr>
            </a:lvl1pPr>
          </a:lstStyle>
          <a:p>
            <a:pPr algn="r"/>
            <a:r>
              <a:rPr lang="en-US"/>
              <a:t>© Bill &amp; Melinda Gates Foundation      |</a:t>
            </a:r>
          </a:p>
        </p:txBody>
      </p:sp>
    </p:spTree>
    <p:extLst>
      <p:ext uri="{BB962C8B-B14F-4D97-AF65-F5344CB8AC3E}">
        <p14:creationId xmlns:p14="http://schemas.microsoft.com/office/powerpoint/2010/main" val="363836555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04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5" y="2626207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5" y="4059936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5" y="3493008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25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/>
            </a:lvl1pPr>
          </a:lstStyle>
          <a:p>
            <a:pPr algn="r"/>
            <a:r>
              <a:rPr lang="en-US"/>
              <a:t>© Bill &amp; Melinda Gates Foundation      |</a:t>
            </a:r>
          </a:p>
        </p:txBody>
      </p:sp>
    </p:spTree>
    <p:extLst>
      <p:ext uri="{BB962C8B-B14F-4D97-AF65-F5344CB8AC3E}">
        <p14:creationId xmlns:p14="http://schemas.microsoft.com/office/powerpoint/2010/main" val="369243986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3400"/>
              </a:lnSpc>
              <a:spcBef>
                <a:spcPts val="1200"/>
              </a:spcBef>
              <a:buNone/>
              <a:defRPr lang="en-US" sz="3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253317122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4" y="1289050"/>
            <a:ext cx="8329613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 baseline="0"/>
            </a:lvl1pPr>
            <a:lvl2pPr marL="171450" indent="-171450"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1200" baseline="0"/>
            </a:lvl3pPr>
            <a:lvl4pPr marL="515938" indent="-173038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6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/>
              <a:t>Insert bullet list at full-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91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90512966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4" y="1139720"/>
            <a:ext cx="8329613" cy="298660"/>
          </a:xfrm>
        </p:spPr>
        <p:txBody>
          <a:bodyPr/>
          <a:lstStyle>
            <a:lvl1pPr>
              <a:lnSpc>
                <a:spcPts val="1600"/>
              </a:lnSpc>
              <a:spcBef>
                <a:spcPts val="0"/>
              </a:spcBef>
              <a:defRPr sz="1400" b="1" baseline="0"/>
            </a:lvl1pPr>
            <a:lvl2pPr marL="171450" indent="-171450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38" indent="-173038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336"/>
              </a:spcBef>
              <a:defRPr baseline="0"/>
            </a:lvl5pPr>
          </a:lstStyle>
          <a:p>
            <a:pPr lvl="0"/>
            <a:r>
              <a:rPr lang="en-US"/>
              <a:t>Insert bullet list at full-width of slid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5" y="1528723"/>
            <a:ext cx="8347075" cy="3166203"/>
          </a:xfrm>
        </p:spPr>
        <p:txBody>
          <a:bodyPr/>
          <a:lstStyle>
            <a:lvl1pPr>
              <a:spcBef>
                <a:spcPts val="600"/>
              </a:spcBef>
              <a:defRPr sz="1300"/>
            </a:lvl1pPr>
            <a:lvl2pPr>
              <a:spcBef>
                <a:spcPts val="600"/>
              </a:spcBef>
              <a:defRPr sz="13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100"/>
            </a:lvl4pPr>
            <a:lvl5pPr>
              <a:spcBef>
                <a:spcPts val="600"/>
              </a:spcBef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91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340273704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8" y="539496"/>
            <a:ext cx="5046662" cy="4151592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/>
              <a:t>Insert bullet list at 2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84307"/>
            <a:ext cx="3170238" cy="646646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121276993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5" y="871710"/>
            <a:ext cx="8329613" cy="450099"/>
          </a:xfrm>
        </p:spPr>
        <p:txBody>
          <a:bodyPr/>
          <a:lstStyle>
            <a:lvl1pPr marL="0" indent="0">
              <a:buNone/>
              <a:defRPr sz="1250" baseline="0"/>
            </a:lvl1pPr>
            <a:lvl2pPr marL="0" indent="0">
              <a:buFont typeface="Arial" panose="020B0604020202020204" pitchFamily="34" charset="0"/>
              <a:buNone/>
              <a:defRPr sz="1250"/>
            </a:lvl2pPr>
            <a:lvl3pPr marL="0" indent="0">
              <a:buNone/>
              <a:defRPr sz="1250"/>
            </a:lvl3pPr>
            <a:lvl4pPr marL="0" indent="0">
              <a:buNone/>
              <a:defRPr sz="1250"/>
            </a:lvl4pPr>
            <a:lvl5pPr marL="0" indent="0">
              <a:buNone/>
              <a:defRPr sz="1250"/>
            </a:lvl5pPr>
          </a:lstStyle>
          <a:p>
            <a:pPr lvl="0"/>
            <a:r>
              <a:rPr lang="en-US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4" y="1462088"/>
            <a:ext cx="8329613" cy="3216275"/>
          </a:xfrm>
        </p:spPr>
        <p:txBody>
          <a:bodyPr tIns="1097280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38193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</p:spTree>
    <p:extLst>
      <p:ext uri="{BB962C8B-B14F-4D97-AF65-F5344CB8AC3E}">
        <p14:creationId xmlns:p14="http://schemas.microsoft.com/office/powerpoint/2010/main" val="364922083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1289050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Insert bullet list at 1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91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155640323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/>
              <a:t>Insert bullet list at 1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/>
              <a:t>© Bill &amp; Melinda Gates Foundation      |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65125" y="484691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488950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Click an icon to insert a visual here at 2/3 width of slide</a:t>
            </a:r>
          </a:p>
        </p:txBody>
      </p:sp>
    </p:spTree>
    <p:extLst>
      <p:ext uri="{BB962C8B-B14F-4D97-AF65-F5344CB8AC3E}">
        <p14:creationId xmlns:p14="http://schemas.microsoft.com/office/powerpoint/2010/main" val="221441488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/>
              <a:t>Insert bullet list at 1/3 width of slide</a:t>
            </a:r>
          </a:p>
          <a:p>
            <a:pPr lvl="1"/>
            <a:r>
              <a:rPr lang="en-US"/>
              <a:t>Bullet list level two</a:t>
            </a:r>
          </a:p>
          <a:p>
            <a:pPr lvl="2"/>
            <a:r>
              <a:rPr lang="en-US"/>
              <a:t>Bullet list level three</a:t>
            </a:r>
          </a:p>
          <a:p>
            <a:pPr lvl="3"/>
            <a:r>
              <a:rPr lang="en-US"/>
              <a:t>Bullet list level four</a:t>
            </a:r>
          </a:p>
          <a:p>
            <a:pPr lvl="4"/>
            <a:r>
              <a:rPr lang="en-US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3" y="0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91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423276544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6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7360920" y="0"/>
            <a:ext cx="1783080" cy="1704561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3665537" y="0"/>
            <a:ext cx="3629785" cy="3096039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7360920" y="1764194"/>
            <a:ext cx="1783080" cy="1331845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on the icon to insert a new photo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5513229" y="3155673"/>
            <a:ext cx="1783080" cy="199001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3665538" y="3155674"/>
            <a:ext cx="1783080" cy="199001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7360920" y="3153488"/>
            <a:ext cx="1783080" cy="199001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10085375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/>
              <a:t>Click on the icon to insert </a:t>
            </a:r>
            <a:br>
              <a:rPr lang="en-US"/>
            </a:br>
            <a:r>
              <a:rPr lang="en-US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39709003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6 Image Grid-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5513229" y="2611438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3665538" y="2611439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7360920" y="2609253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5513229" y="2185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3665538" y="2186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1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7360920" y="0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47019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4" y="3687417"/>
            <a:ext cx="8329613" cy="100523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 baseline="0"/>
            </a:lvl1pPr>
            <a:lvl2pPr marL="171450" indent="-171450"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38" indent="-173038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6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357188" y="1198563"/>
            <a:ext cx="8355012" cy="2369585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6248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3750398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4" y="1128091"/>
            <a:ext cx="8329613" cy="383742"/>
          </a:xfrm>
        </p:spPr>
        <p:txBody>
          <a:bodyPr/>
          <a:lstStyle>
            <a:lvl1pPr>
              <a:spcBef>
                <a:spcPts val="600"/>
              </a:spcBef>
              <a:defRPr sz="1400" b="0" baseline="0"/>
            </a:lvl1pPr>
            <a:lvl2pPr marL="171450" indent="-171450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38" indent="-173038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336"/>
              </a:spcBef>
              <a:defRPr baseline="0"/>
            </a:lvl5pPr>
          </a:lstStyle>
          <a:p>
            <a:pPr lvl="0"/>
            <a:r>
              <a:rPr lang="en-US"/>
              <a:t>Explanatory text goes here, up to 2 lines. This slide accommodates 21 headshots.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57188" y="157513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2839338" y="157513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321488" y="157513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803635" y="157513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47075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HEADSHOT SLIDE (MAX OF 21)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598263" y="157513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0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080413" y="157513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562563" y="157513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57188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839338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5321488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7803635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1598263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4080413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562563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357188" y="3774357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839338" y="3774357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5321488" y="3774357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7803635" y="3774357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1598263" y="3774357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4080413" y="3774357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562563" y="3774357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33853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/>
              <a:t>© Bill &amp; Melinda Gates Foundation      |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188" y="121443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1788238" y="194552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18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357188" y="278288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19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1788238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20" name="Picture Placeholder 20"/>
          <p:cNvSpPr>
            <a:spLocks noGrp="1"/>
          </p:cNvSpPr>
          <p:nvPr>
            <p:ph type="pic" sz="quarter" idx="20" hasCustomPrompt="1"/>
          </p:nvPr>
        </p:nvSpPr>
        <p:spPr>
          <a:xfrm>
            <a:off x="3193271" y="121443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22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4624321" y="194552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30" name="Picture Placeholder 20"/>
          <p:cNvSpPr>
            <a:spLocks noGrp="1"/>
          </p:cNvSpPr>
          <p:nvPr>
            <p:ph type="pic" sz="quarter" idx="22" hasCustomPrompt="1"/>
          </p:nvPr>
        </p:nvSpPr>
        <p:spPr>
          <a:xfrm>
            <a:off x="3193271" y="278288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31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24321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32" name="Picture Placeholder 20"/>
          <p:cNvSpPr>
            <a:spLocks noGrp="1"/>
          </p:cNvSpPr>
          <p:nvPr>
            <p:ph type="pic" sz="quarter" idx="24" hasCustomPrompt="1"/>
          </p:nvPr>
        </p:nvSpPr>
        <p:spPr>
          <a:xfrm>
            <a:off x="6015759" y="121443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7446809" y="194552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34" name="Picture Placeholder 20"/>
          <p:cNvSpPr>
            <a:spLocks noGrp="1"/>
          </p:cNvSpPr>
          <p:nvPr>
            <p:ph type="pic" sz="quarter" idx="26" hasCustomPrompt="1"/>
          </p:nvPr>
        </p:nvSpPr>
        <p:spPr>
          <a:xfrm>
            <a:off x="6015759" y="278288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7" hasCustomPrompt="1"/>
          </p:nvPr>
        </p:nvSpPr>
        <p:spPr>
          <a:xfrm>
            <a:off x="7446809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47075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HEADSHOT SLIDE (MAX OF 5 – SPEAKER OR TEAM LAYOUT</a:t>
            </a:r>
          </a:p>
        </p:txBody>
      </p:sp>
    </p:spTree>
    <p:extLst>
      <p:ext uri="{BB962C8B-B14F-4D97-AF65-F5344CB8AC3E}">
        <p14:creationId xmlns:p14="http://schemas.microsoft.com/office/powerpoint/2010/main" val="1432621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04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5" y="2626207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5" y="4059936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5" y="3493008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25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/>
            </a:lvl1pPr>
          </a:lstStyle>
          <a:p>
            <a:pPr algn="r"/>
            <a:r>
              <a:rPr lang="en-US" dirty="0"/>
              <a:t>© 2014 Bill &amp; Melinda Gates Foundation</a:t>
            </a:r>
          </a:p>
        </p:txBody>
      </p:sp>
    </p:spTree>
    <p:extLst>
      <p:ext uri="{BB962C8B-B14F-4D97-AF65-F5344CB8AC3E}">
        <p14:creationId xmlns:p14="http://schemas.microsoft.com/office/powerpoint/2010/main" val="465242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8" y="3299828"/>
            <a:ext cx="8355012" cy="1464260"/>
          </a:xfrm>
        </p:spPr>
        <p:txBody>
          <a:bodyPr anchor="t"/>
          <a:lstStyle>
            <a:lvl1pPr marL="0" indent="0">
              <a:spcBef>
                <a:spcPts val="600"/>
              </a:spcBef>
              <a:buNone/>
              <a:defRPr sz="1400" b="0" baseline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Insert explanatory copy here.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57188" y="2946461"/>
            <a:ext cx="8355012" cy="34939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Insert subtitle here – recommend a limit of 1 lin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5967779" y="1287587"/>
            <a:ext cx="2742652" cy="1563563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3166345" y="1292809"/>
            <a:ext cx="2739888" cy="1558341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65408" y="1290434"/>
            <a:ext cx="2740475" cy="1560716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40768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8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50" indent="-17145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000" baseline="0"/>
            </a:lvl2pPr>
            <a:lvl3pPr marL="341313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00050" algn="l"/>
              </a:tabLst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Key word</a:t>
            </a:r>
          </a:p>
          <a:p>
            <a:pPr lvl="1"/>
            <a:r>
              <a:rPr lang="en-US"/>
              <a:t>Insert descriptive text here</a:t>
            </a:r>
          </a:p>
          <a:p>
            <a:pPr lvl="2"/>
            <a:r>
              <a:rPr lang="en-US"/>
              <a:t>Level 2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63814" y="1142093"/>
            <a:ext cx="8355012" cy="468046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Insert explanatory copy her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4663194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2510191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188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33" name="Picture Placeholder 20"/>
          <p:cNvSpPr>
            <a:spLocks noGrp="1"/>
          </p:cNvSpPr>
          <p:nvPr>
            <p:ph type="pic" sz="quarter" idx="21" hasCustomPrompt="1"/>
          </p:nvPr>
        </p:nvSpPr>
        <p:spPr>
          <a:xfrm>
            <a:off x="6832537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22" hasCustomPrompt="1"/>
          </p:nvPr>
        </p:nvSpPr>
        <p:spPr>
          <a:xfrm>
            <a:off x="2510191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50" indent="-171450">
              <a:spcBef>
                <a:spcPts val="600"/>
              </a:spcBef>
              <a:buFont typeface="Wingdings" panose="05000000000000000000" pitchFamily="2" charset="2"/>
              <a:buChar char="§"/>
              <a:defRPr sz="1000" baseline="0"/>
            </a:lvl2pPr>
            <a:lvl3pPr marL="341313" indent="-171450"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Key word</a:t>
            </a:r>
          </a:p>
          <a:p>
            <a:pPr lvl="1"/>
            <a:r>
              <a:rPr lang="en-US"/>
              <a:t>Insert descriptive text here</a:t>
            </a:r>
          </a:p>
          <a:p>
            <a:pPr lvl="2"/>
            <a:r>
              <a:rPr lang="en-US"/>
              <a:t>Level 2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63194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50" indent="-171450">
              <a:spcBef>
                <a:spcPts val="600"/>
              </a:spcBef>
              <a:buFont typeface="Wingdings" panose="05000000000000000000" pitchFamily="2" charset="2"/>
              <a:buChar char="§"/>
              <a:defRPr sz="1000" baseline="0"/>
            </a:lvl2pPr>
            <a:lvl3pPr marL="341313" indent="-171450"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Key word</a:t>
            </a:r>
          </a:p>
          <a:p>
            <a:pPr lvl="1"/>
            <a:r>
              <a:rPr lang="en-US"/>
              <a:t>Insert descriptive text here</a:t>
            </a:r>
          </a:p>
          <a:p>
            <a:pPr lvl="2"/>
            <a:r>
              <a:rPr lang="en-US"/>
              <a:t>Level 2</a:t>
            </a:r>
          </a:p>
        </p:txBody>
      </p:sp>
      <p:sp>
        <p:nvSpPr>
          <p:cNvPr id="36" name="Text Placeholder 22"/>
          <p:cNvSpPr>
            <a:spLocks noGrp="1"/>
          </p:cNvSpPr>
          <p:nvPr>
            <p:ph type="body" sz="quarter" idx="24" hasCustomPrompt="1"/>
          </p:nvPr>
        </p:nvSpPr>
        <p:spPr>
          <a:xfrm>
            <a:off x="6841681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50" indent="-171450">
              <a:spcBef>
                <a:spcPts val="600"/>
              </a:spcBef>
              <a:buFont typeface="Wingdings" panose="05000000000000000000" pitchFamily="2" charset="2"/>
              <a:buChar char="§"/>
              <a:defRPr sz="1000" baseline="0"/>
            </a:lvl2pPr>
            <a:lvl3pPr marL="341313" indent="-171450"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Key word</a:t>
            </a:r>
          </a:p>
          <a:p>
            <a:pPr lvl="1"/>
            <a:r>
              <a:rPr lang="en-US"/>
              <a:t>Insert descriptive text here</a:t>
            </a:r>
          </a:p>
          <a:p>
            <a:pPr lvl="2"/>
            <a:r>
              <a:rPr lang="en-US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4250643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Gates-logo.png"/>
          <p:cNvPicPr>
            <a:picLocks noChangeAspect="1"/>
          </p:cNvPicPr>
          <p:nvPr userDrawn="1"/>
        </p:nvPicPr>
        <p:blipFill>
          <a:blip r:embed="rId5" cstate="email"/>
          <a:stretch>
            <a:fillRect/>
          </a:stretch>
        </p:blipFill>
        <p:spPr>
          <a:xfrm>
            <a:off x="7460916" y="28576"/>
            <a:ext cx="1251283" cy="1251283"/>
          </a:xfrm>
          <a:prstGeom prst="rect">
            <a:avLst/>
          </a:prstGeom>
        </p:spPr>
      </p:pic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5" y="4059936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 b="0">
                <a:solidFill>
                  <a:schemeClr val="bg1">
                    <a:lumMod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Presenters (Arial 12 pt, gray)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65125" y="1864704"/>
            <a:ext cx="8347074" cy="711809"/>
          </a:xfr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300"/>
              </a:lnSpc>
              <a:spcBef>
                <a:spcPct val="0"/>
              </a:spcBef>
              <a:buNone/>
              <a:defRPr lang="en-US" sz="2300" b="0" kern="1200" cap="all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defTabSz="914400" rtl="0" eaLnBrk="1" latinLnBrk="0" hangingPunct="1">
              <a:lnSpc>
                <a:spcPts val="2300"/>
              </a:lnSpc>
              <a:spcBef>
                <a:spcPct val="0"/>
              </a:spcBef>
              <a:buNone/>
              <a:defRPr lang="en-US" sz="2300" b="0" kern="1200" cap="all" baseline="0" dirty="0" smtClean="0">
                <a:solidFill>
                  <a:schemeClr val="accent6"/>
                </a:solidFill>
                <a:latin typeface="Arial" pitchFamily="34" charset="0"/>
                <a:ea typeface="+mj-ea"/>
                <a:cs typeface="Arial" pitchFamily="34" charset="0"/>
              </a:defRPr>
            </a:lvl2pPr>
            <a:lvl3pPr algn="l" defTabSz="914400" rtl="0" eaLnBrk="1" latinLnBrk="0" hangingPunct="1">
              <a:lnSpc>
                <a:spcPts val="2300"/>
              </a:lnSpc>
              <a:spcBef>
                <a:spcPct val="0"/>
              </a:spcBef>
              <a:buNone/>
              <a:defRPr lang="en-US" sz="2300" b="0" kern="1200" cap="all" baseline="0" dirty="0" smtClean="0">
                <a:solidFill>
                  <a:schemeClr val="accent6"/>
                </a:solidFill>
                <a:latin typeface="Arial" pitchFamily="34" charset="0"/>
                <a:ea typeface="+mj-ea"/>
                <a:cs typeface="Arial" pitchFamily="34" charset="0"/>
              </a:defRPr>
            </a:lvl3pPr>
            <a:lvl4pPr algn="l" defTabSz="914400" rtl="0" eaLnBrk="1" latinLnBrk="0" hangingPunct="1">
              <a:lnSpc>
                <a:spcPts val="2300"/>
              </a:lnSpc>
              <a:spcBef>
                <a:spcPct val="0"/>
              </a:spcBef>
              <a:buNone/>
              <a:defRPr lang="en-US" sz="2300" b="0" kern="1200" cap="all" baseline="0" dirty="0" smtClean="0">
                <a:solidFill>
                  <a:schemeClr val="accent6"/>
                </a:solidFill>
                <a:latin typeface="Arial" pitchFamily="34" charset="0"/>
                <a:ea typeface="+mj-ea"/>
                <a:cs typeface="Arial" pitchFamily="34" charset="0"/>
              </a:defRPr>
            </a:lvl4pPr>
            <a:lvl5pPr algn="l" defTabSz="914400" rtl="0" eaLnBrk="1" latinLnBrk="0" hangingPunct="1">
              <a:lnSpc>
                <a:spcPts val="2300"/>
              </a:lnSpc>
              <a:spcBef>
                <a:spcPct val="0"/>
              </a:spcBef>
              <a:buNone/>
              <a:defRPr lang="en-US" sz="2300" b="0" kern="1200" cap="all" baseline="0" dirty="0" smtClean="0">
                <a:solidFill>
                  <a:schemeClr val="accent6"/>
                </a:solidFill>
                <a:latin typeface="Arial" pitchFamily="34" charset="0"/>
                <a:ea typeface="+mj-ea"/>
                <a:cs typeface="Arial" pitchFamily="34" charset="0"/>
              </a:defRPr>
            </a:lvl5pPr>
          </a:lstStyle>
          <a:p>
            <a:pPr lvl="0"/>
            <a:r>
              <a:rPr lang="en-US" dirty="0"/>
              <a:t>Title in Uppercase (Arial 23 pt, Black)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5" y="2626206"/>
            <a:ext cx="8347075" cy="440163"/>
          </a:xfrm>
        </p:spPr>
        <p:txBody>
          <a:bodyPr vert="horz" lIns="0" tIns="0" rIns="0" bIns="0" rtlCol="0" anchor="ctr">
            <a:normAutofit/>
          </a:bodyPr>
          <a:lstStyle>
            <a:lvl1pPr marL="0" indent="0" algn="l" defTabSz="889000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lang="en-US" sz="1400" b="0" baseline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0" indent="0" algn="l" defTabSz="889000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lang="en-US" sz="1400" b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0" indent="0" algn="l" defTabSz="889000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lang="en-US" sz="1400" b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0" indent="0" algn="l" defTabSz="889000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lang="en-US" sz="1400" b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0" indent="0" algn="l" defTabSz="889000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lang="en-US" sz="1400" b="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n Title Case (Arial 14 pt, Red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365125" y="3493008"/>
            <a:ext cx="8347075" cy="274636"/>
          </a:xfrm>
        </p:spPr>
        <p:txBody>
          <a:bodyPr vert="horz" lIns="0" tIns="0" rIns="0" bIns="0" rtlCol="0" anchor="ctr"/>
          <a:lstStyle>
            <a:lvl1pPr algn="l" rtl="0" fontAlgn="base">
              <a:defRPr lang="en-US" sz="1200" b="0" kern="12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 (Arial 12 pt, gray)</a:t>
            </a:r>
          </a:p>
        </p:txBody>
      </p:sp>
    </p:spTree>
    <p:extLst>
      <p:ext uri="{BB962C8B-B14F-4D97-AF65-F5344CB8AC3E}">
        <p14:creationId xmlns:p14="http://schemas.microsoft.com/office/powerpoint/2010/main" val="39363400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auto">
          <a:xfrm>
            <a:off x="0" y="9"/>
            <a:ext cx="9144000" cy="3348748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68396" tIns="34199" rIns="68396" bIns="34199" numCol="1" rtlCol="0" anchor="ctr" anchorCtr="0" compatLnSpc="1">
            <a:prstTxWarp prst="textNoShape">
              <a:avLst/>
            </a:prstTxWarp>
          </a:bodyPr>
          <a:lstStyle/>
          <a:p>
            <a:pPr algn="ctr" defTabSz="683761"/>
            <a:endParaRPr lang="en-US" sz="1725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0090" y="403054"/>
            <a:ext cx="7983537" cy="319944"/>
          </a:xfrm>
        </p:spPr>
        <p:txBody>
          <a:bodyPr tIns="0">
            <a:spAutoFit/>
          </a:bodyPr>
          <a:lstStyle>
            <a:lvl1pPr>
              <a:lnSpc>
                <a:spcPct val="77000"/>
              </a:lnSpc>
              <a:defRPr sz="2700" cap="none" spc="0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00088" y="3917340"/>
            <a:ext cx="5526086" cy="345479"/>
          </a:xfrm>
        </p:spPr>
        <p:txBody>
          <a:bodyPr wrap="square" anchor="t" anchorCtr="0">
            <a:noAutofit/>
          </a:bodyPr>
          <a:lstStyle>
            <a:lvl1pPr marL="0" indent="0" algn="l">
              <a:lnSpc>
                <a:spcPts val="1650"/>
              </a:lnSpc>
              <a:spcBef>
                <a:spcPts val="0"/>
              </a:spcBef>
              <a:spcAft>
                <a:spcPts val="0"/>
              </a:spcAft>
              <a:buNone/>
              <a:defRPr sz="1275" spc="0" baseline="0">
                <a:solidFill>
                  <a:schemeClr val="accent2"/>
                </a:solidFill>
              </a:defRPr>
            </a:lvl1pPr>
            <a:lvl2pPr marL="3419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39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59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7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098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18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38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58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700090" y="1175993"/>
            <a:ext cx="7983538" cy="930811"/>
          </a:xfrm>
        </p:spPr>
        <p:txBody>
          <a:bodyPr/>
          <a:lstStyle>
            <a:lvl1pPr marL="0" indent="0">
              <a:lnSpc>
                <a:spcPts val="1950"/>
              </a:lnSpc>
              <a:spcAft>
                <a:spcPts val="300"/>
              </a:spcAft>
              <a:buNone/>
              <a:defRPr>
                <a:solidFill>
                  <a:srgbClr val="FFFFFF"/>
                </a:solidFill>
              </a:defRPr>
            </a:lvl1pPr>
            <a:lvl2pPr marL="0" indent="0">
              <a:lnSpc>
                <a:spcPts val="2100"/>
              </a:lnSpc>
              <a:spcAft>
                <a:spcPts val="450"/>
              </a:spcAft>
              <a:buNone/>
              <a:defRPr sz="1800" b="1">
                <a:solidFill>
                  <a:srgbClr val="FFFFFF"/>
                </a:solidFill>
              </a:defRPr>
            </a:lvl2pPr>
            <a:lvl3pPr marL="0" indent="0">
              <a:lnSpc>
                <a:spcPts val="2100"/>
              </a:lnSpc>
              <a:spcAft>
                <a:spcPts val="450"/>
              </a:spcAft>
              <a:buNone/>
              <a:defRPr sz="1800" b="1">
                <a:solidFill>
                  <a:srgbClr val="FFFFFF"/>
                </a:solidFill>
              </a:defRPr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7" name="Picture 6" descr="BMGF_BoxLogo_red_WEBSAFE2.42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91072" y="3010662"/>
            <a:ext cx="2212848" cy="1659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626726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auto">
          <a:xfrm>
            <a:off x="0" y="4720526"/>
            <a:ext cx="9144000" cy="423001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68396" tIns="34199" rIns="68396" bIns="34199" numCol="1" rtlCol="0" anchor="ctr" anchorCtr="0" compatLnSpc="1">
            <a:prstTxWarp prst="textNoShape">
              <a:avLst/>
            </a:prstTxWarp>
          </a:bodyPr>
          <a:lstStyle/>
          <a:p>
            <a:pPr algn="ctr" defTabSz="683761"/>
            <a:endParaRPr lang="en-US" sz="1725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0090" y="416764"/>
            <a:ext cx="7983537" cy="311624"/>
          </a:xfrm>
        </p:spPr>
        <p:txBody>
          <a:bodyPr anchor="t" anchorCtr="0"/>
          <a:lstStyle>
            <a:lvl1pPr>
              <a:lnSpc>
                <a:spcPct val="75000"/>
              </a:lnSpc>
              <a:defRPr sz="2700" spc="0" baseline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806848"/>
            <a:ext cx="2133600" cy="273844"/>
          </a:xfrm>
          <a:prstGeom prst="rect">
            <a:avLst/>
          </a:prstGeom>
        </p:spPr>
        <p:txBody>
          <a:bodyPr vert="horz" lIns="91198" tIns="45600" rIns="91198" bIns="45600" rtlCol="0" anchor="ctr"/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3782" y="4807077"/>
            <a:ext cx="2306211" cy="273844"/>
          </a:xfrm>
          <a:prstGeom prst="rect">
            <a:avLst/>
          </a:prstGeom>
        </p:spPr>
        <p:txBody>
          <a:bodyPr vert="horz" lIns="91198" tIns="45600" rIns="91198" bIns="45600" rtlCol="0" anchor="ctr"/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Bill &amp; Melinda Gates Foundation|Confidential Materials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94192" y="4809050"/>
            <a:ext cx="384048" cy="273844"/>
          </a:xfrm>
          <a:prstGeom prst="rect">
            <a:avLst/>
          </a:prstGeom>
        </p:spPr>
        <p:txBody>
          <a:bodyPr vert="horz" lIns="91198" tIns="45600" rIns="91198" bIns="45600" rtlCol="0" anchor="ctr"/>
          <a:lstStyle>
            <a:lvl1pPr algn="r">
              <a:defRPr sz="750">
                <a:solidFill>
                  <a:schemeClr val="bg1"/>
                </a:solidFill>
              </a:defRPr>
            </a:lvl1pPr>
          </a:lstStyle>
          <a:p>
            <a:fld id="{6FE27C41-116F-4622-B250-F19A9812A205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4221589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 bwMode="auto">
          <a:xfrm>
            <a:off x="0" y="4720526"/>
            <a:ext cx="9144000" cy="423001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68396" tIns="34199" rIns="68396" bIns="34199" numCol="1" rtlCol="0" anchor="ctr" anchorCtr="0" compatLnSpc="1">
            <a:prstTxWarp prst="textNoShape">
              <a:avLst/>
            </a:prstTxWarp>
          </a:bodyPr>
          <a:lstStyle/>
          <a:p>
            <a:pPr algn="ctr" defTabSz="683761"/>
            <a:endParaRPr lang="en-US" sz="1725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0090" y="347848"/>
            <a:ext cx="7983537" cy="373949"/>
          </a:xfrm>
        </p:spPr>
        <p:txBody>
          <a:bodyPr>
            <a:spAutoFit/>
          </a:bodyPr>
          <a:lstStyle>
            <a:lvl1pPr>
              <a:defRPr spc="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0090" y="1176846"/>
            <a:ext cx="7983537" cy="3407569"/>
          </a:xfrm>
        </p:spPr>
        <p:txBody>
          <a:bodyPr/>
          <a:lstStyle>
            <a:lvl1pPr>
              <a:lnSpc>
                <a:spcPts val="1950"/>
              </a:lnSpc>
              <a:buClr>
                <a:schemeClr val="accent2"/>
              </a:buClr>
              <a:defRPr spc="0" baseline="0"/>
            </a:lvl1pPr>
            <a:lvl2pPr>
              <a:lnSpc>
                <a:spcPts val="1800"/>
              </a:lnSpc>
              <a:buClr>
                <a:schemeClr val="accent2"/>
              </a:buClr>
              <a:defRPr spc="0" baseline="0"/>
            </a:lvl2pPr>
            <a:lvl3pPr marL="510615" indent="-168622">
              <a:lnSpc>
                <a:spcPts val="1875"/>
              </a:lnSpc>
              <a:buClr>
                <a:schemeClr val="accent2"/>
              </a:buClr>
              <a:defRPr lang="en-US" sz="135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lnSpc>
                <a:spcPts val="1500"/>
              </a:lnSpc>
              <a:defRPr lang="en-US" sz="12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275"/>
              </a:lnSpc>
              <a:defRPr lang="en-US" sz="1050" b="1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806848"/>
            <a:ext cx="2133600" cy="273844"/>
          </a:xfrm>
          <a:prstGeom prst="rect">
            <a:avLst/>
          </a:prstGeom>
        </p:spPr>
        <p:txBody>
          <a:bodyPr vert="horz" lIns="91198" tIns="45600" rIns="91198" bIns="45600" rtlCol="0" anchor="ctr"/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5382" y="4806999"/>
            <a:ext cx="2306211" cy="273844"/>
          </a:xfrm>
          <a:prstGeom prst="rect">
            <a:avLst/>
          </a:prstGeom>
        </p:spPr>
        <p:txBody>
          <a:bodyPr vert="horz" lIns="91198" tIns="45600" rIns="91198" bIns="45600" rtlCol="0" anchor="ctr"/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Bill &amp; Melinda Gates Foundation|Confidential Material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94192" y="4809050"/>
            <a:ext cx="384048" cy="273844"/>
          </a:xfrm>
          <a:prstGeom prst="rect">
            <a:avLst/>
          </a:prstGeom>
        </p:spPr>
        <p:txBody>
          <a:bodyPr vert="horz" lIns="91198" tIns="45600" rIns="91198" bIns="45600" rtlCol="0" anchor="ctr"/>
          <a:lstStyle>
            <a:lvl1pPr algn="r">
              <a:defRPr sz="750">
                <a:solidFill>
                  <a:schemeClr val="bg1"/>
                </a:solidFill>
              </a:defRPr>
            </a:lvl1pPr>
          </a:lstStyle>
          <a:p>
            <a:fld id="{6FE27C41-116F-4622-B250-F19A9812A205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6667057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wo Conten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auto">
          <a:xfrm>
            <a:off x="0" y="4720526"/>
            <a:ext cx="9144000" cy="423001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68396" tIns="34199" rIns="68396" bIns="34199" numCol="1" rtlCol="0" anchor="ctr" anchorCtr="0" compatLnSpc="1">
            <a:prstTxWarp prst="textNoShape">
              <a:avLst/>
            </a:prstTxWarp>
          </a:bodyPr>
          <a:lstStyle/>
          <a:p>
            <a:pPr algn="ctr" defTabSz="683761"/>
            <a:endParaRPr lang="en-US" sz="1725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0090" y="347596"/>
            <a:ext cx="7983537" cy="373949"/>
          </a:xfrm>
        </p:spPr>
        <p:txBody>
          <a:bodyPr>
            <a:spAutoFit/>
          </a:bodyPr>
          <a:lstStyle>
            <a:lvl1pPr>
              <a:defRPr spc="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0089" y="1177473"/>
            <a:ext cx="3783013" cy="498598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341977" indent="0">
              <a:buNone/>
              <a:defRPr sz="1500" b="1"/>
            </a:lvl2pPr>
            <a:lvl3pPr marL="683957" indent="0">
              <a:buNone/>
              <a:defRPr sz="1350" b="1"/>
            </a:lvl3pPr>
            <a:lvl4pPr marL="1025938" indent="0">
              <a:buNone/>
              <a:defRPr sz="1200" b="1"/>
            </a:lvl4pPr>
            <a:lvl5pPr marL="1367915" indent="0">
              <a:buNone/>
              <a:defRPr sz="1200" b="1"/>
            </a:lvl5pPr>
            <a:lvl6pPr marL="1709894" indent="0">
              <a:buNone/>
              <a:defRPr sz="1200" b="1"/>
            </a:lvl6pPr>
            <a:lvl7pPr marL="2051873" indent="0">
              <a:buNone/>
              <a:defRPr sz="1200" b="1"/>
            </a:lvl7pPr>
            <a:lvl8pPr marL="2393851" indent="0">
              <a:buNone/>
              <a:defRPr sz="1200" b="1"/>
            </a:lvl8pPr>
            <a:lvl9pPr marL="273583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0101" y="1730832"/>
            <a:ext cx="3783012" cy="2932674"/>
          </a:xfrm>
        </p:spPr>
        <p:txBody>
          <a:bodyPr/>
          <a:lstStyle>
            <a:lvl1pPr marL="170993" indent="-170993">
              <a:lnSpc>
                <a:spcPts val="1800"/>
              </a:lnSpc>
              <a:defRPr sz="1500" spc="0" baseline="0"/>
            </a:lvl1pPr>
            <a:lvl2pPr marL="345556" indent="-174563">
              <a:lnSpc>
                <a:spcPts val="1800"/>
              </a:lnSpc>
              <a:defRPr sz="1350" spc="0" baseline="0"/>
            </a:lvl2pPr>
            <a:lvl3pPr marL="473802" indent="-169810">
              <a:lnSpc>
                <a:spcPts val="1800"/>
              </a:lnSpc>
              <a:defRPr sz="1200" spc="0" baseline="0"/>
            </a:lvl3pPr>
            <a:lvl4pPr marL="785682" indent="-171188">
              <a:defRPr sz="1275"/>
            </a:lvl4pPr>
            <a:lvl5pPr marL="956869" indent="-154366">
              <a:defRPr sz="1275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61855" y="1177473"/>
            <a:ext cx="4021770" cy="498598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341977" indent="0">
              <a:buNone/>
              <a:defRPr sz="1500" b="1"/>
            </a:lvl2pPr>
            <a:lvl3pPr marL="683957" indent="0">
              <a:buNone/>
              <a:defRPr sz="1350" b="1"/>
            </a:lvl3pPr>
            <a:lvl4pPr marL="1025938" indent="0">
              <a:buNone/>
              <a:defRPr sz="1200" b="1"/>
            </a:lvl4pPr>
            <a:lvl5pPr marL="1367915" indent="0">
              <a:buNone/>
              <a:defRPr sz="1200" b="1"/>
            </a:lvl5pPr>
            <a:lvl6pPr marL="1709894" indent="0">
              <a:buNone/>
              <a:defRPr sz="1200" b="1"/>
            </a:lvl6pPr>
            <a:lvl7pPr marL="2051873" indent="0">
              <a:buNone/>
              <a:defRPr sz="1200" b="1"/>
            </a:lvl7pPr>
            <a:lvl8pPr marL="2393851" indent="0">
              <a:buNone/>
              <a:defRPr sz="1200" b="1"/>
            </a:lvl8pPr>
            <a:lvl9pPr marL="273583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60916" y="1730832"/>
            <a:ext cx="4022725" cy="2932674"/>
          </a:xfrm>
        </p:spPr>
        <p:txBody>
          <a:bodyPr/>
          <a:lstStyle>
            <a:lvl1pPr marL="173366" indent="-173366">
              <a:lnSpc>
                <a:spcPts val="1800"/>
              </a:lnSpc>
              <a:defRPr lang="en-US" sz="15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5556" indent="-172184">
              <a:lnSpc>
                <a:spcPts val="1800"/>
              </a:lnSpc>
              <a:defRPr lang="en-US" sz="135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0615" indent="-165059">
              <a:lnSpc>
                <a:spcPts val="1800"/>
              </a:lnSpc>
              <a:defRPr lang="en-US" sz="12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85682" indent="-177126">
              <a:defRPr sz="1275"/>
            </a:lvl4pPr>
            <a:lvl5pPr marL="956869" indent="-165251">
              <a:defRPr sz="1275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806848"/>
            <a:ext cx="2133600" cy="273844"/>
          </a:xfrm>
          <a:prstGeom prst="rect">
            <a:avLst/>
          </a:prstGeom>
        </p:spPr>
        <p:txBody>
          <a:bodyPr vert="horz" lIns="91198" tIns="45600" rIns="91198" bIns="45600" rtlCol="0" anchor="ctr"/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45382" y="4807466"/>
            <a:ext cx="2306211" cy="273844"/>
          </a:xfrm>
          <a:prstGeom prst="rect">
            <a:avLst/>
          </a:prstGeom>
        </p:spPr>
        <p:txBody>
          <a:bodyPr vert="horz" lIns="91198" tIns="45600" rIns="91198" bIns="45600" rtlCol="0" anchor="ctr"/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Bill &amp; Melinda Gates Foundation|Confidential Materials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94192" y="4809050"/>
            <a:ext cx="384048" cy="273844"/>
          </a:xfrm>
          <a:prstGeom prst="rect">
            <a:avLst/>
          </a:prstGeom>
        </p:spPr>
        <p:txBody>
          <a:bodyPr vert="horz" lIns="91198" tIns="45600" rIns="91198" bIns="45600" rtlCol="0" anchor="ctr"/>
          <a:lstStyle>
            <a:lvl1pPr algn="r">
              <a:defRPr sz="750">
                <a:solidFill>
                  <a:schemeClr val="bg1"/>
                </a:solidFill>
              </a:defRPr>
            </a:lvl1pPr>
          </a:lstStyle>
          <a:p>
            <a:fld id="{6FE27C41-116F-4622-B250-F19A9812A205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8098835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/>
        </p:nvSpPr>
        <p:spPr bwMode="auto">
          <a:xfrm>
            <a:off x="0" y="4720526"/>
            <a:ext cx="9144000" cy="423001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68396" tIns="34199" rIns="68396" bIns="34199" numCol="1" rtlCol="0" anchor="ctr" anchorCtr="0" compatLnSpc="1">
            <a:prstTxWarp prst="textNoShape">
              <a:avLst/>
            </a:prstTxWarp>
          </a:bodyPr>
          <a:lstStyle/>
          <a:p>
            <a:pPr algn="ctr" defTabSz="683761"/>
            <a:endParaRPr lang="en-US" sz="1725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0090" y="347596"/>
            <a:ext cx="7983537" cy="373949"/>
          </a:xfrm>
        </p:spPr>
        <p:txBody>
          <a:bodyPr>
            <a:spAutoFit/>
          </a:bodyPr>
          <a:lstStyle>
            <a:lvl1pPr>
              <a:defRPr spc="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0843" y="1173849"/>
            <a:ext cx="3840161" cy="498598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341977" indent="0">
              <a:buNone/>
              <a:defRPr sz="1500" b="1"/>
            </a:lvl2pPr>
            <a:lvl3pPr marL="683957" indent="0">
              <a:buNone/>
              <a:defRPr sz="1350" b="1"/>
            </a:lvl3pPr>
            <a:lvl4pPr marL="1025938" indent="0">
              <a:buNone/>
              <a:defRPr sz="1200" b="1"/>
            </a:lvl4pPr>
            <a:lvl5pPr marL="1367915" indent="0">
              <a:buNone/>
              <a:defRPr sz="1200" b="1"/>
            </a:lvl5pPr>
            <a:lvl6pPr marL="1709894" indent="0">
              <a:buNone/>
              <a:defRPr sz="1200" b="1"/>
            </a:lvl6pPr>
            <a:lvl7pPr marL="2051873" indent="0">
              <a:buNone/>
              <a:defRPr sz="1200" b="1"/>
            </a:lvl7pPr>
            <a:lvl8pPr marL="2393851" indent="0">
              <a:buNone/>
              <a:defRPr sz="1200" b="1"/>
            </a:lvl8pPr>
            <a:lvl9pPr marL="273583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00813" y="1745974"/>
            <a:ext cx="3840162" cy="1076449"/>
          </a:xfrm>
        </p:spPr>
        <p:txBody>
          <a:bodyPr/>
          <a:lstStyle>
            <a:lvl1pPr marL="173366" indent="-173366">
              <a:lnSpc>
                <a:spcPts val="1650"/>
              </a:lnSpc>
              <a:spcBef>
                <a:spcPts val="0"/>
              </a:spcBef>
              <a:tabLst>
                <a:tab pos="173366" algn="l"/>
              </a:tabLst>
              <a:defRPr lang="en-US" sz="15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5556" indent="-172184">
              <a:lnSpc>
                <a:spcPts val="1650"/>
              </a:lnSpc>
              <a:spcBef>
                <a:spcPts val="0"/>
              </a:spcBef>
              <a:defRPr lang="en-US" sz="135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0615" indent="-165059">
              <a:lnSpc>
                <a:spcPts val="1650"/>
              </a:lnSpc>
              <a:spcBef>
                <a:spcPts val="0"/>
              </a:spcBef>
              <a:defRPr lang="en-US" sz="12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85682" indent="-171188">
              <a:defRPr sz="1275"/>
            </a:lvl4pPr>
            <a:lvl5pPr marL="956869" indent="-154366">
              <a:defRPr sz="1275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61886" y="1173849"/>
            <a:ext cx="4021769" cy="498598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341977" indent="0">
              <a:buNone/>
              <a:defRPr sz="1500" b="1"/>
            </a:lvl2pPr>
            <a:lvl3pPr marL="683957" indent="0">
              <a:buNone/>
              <a:defRPr sz="1350" b="1"/>
            </a:lvl3pPr>
            <a:lvl4pPr marL="1025938" indent="0">
              <a:buNone/>
              <a:defRPr sz="1200" b="1"/>
            </a:lvl4pPr>
            <a:lvl5pPr marL="1367915" indent="0">
              <a:buNone/>
              <a:defRPr sz="1200" b="1"/>
            </a:lvl5pPr>
            <a:lvl6pPr marL="1709894" indent="0">
              <a:buNone/>
              <a:defRPr sz="1200" b="1"/>
            </a:lvl6pPr>
            <a:lvl7pPr marL="2051873" indent="0">
              <a:buNone/>
              <a:defRPr sz="1200" b="1"/>
            </a:lvl7pPr>
            <a:lvl8pPr marL="2393851" indent="0">
              <a:buNone/>
              <a:defRPr sz="1200" b="1"/>
            </a:lvl8pPr>
            <a:lvl9pPr marL="273583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idx="10"/>
          </p:nvPr>
        </p:nvSpPr>
        <p:spPr>
          <a:xfrm>
            <a:off x="700813" y="2889378"/>
            <a:ext cx="3840162" cy="498598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341977" indent="0">
              <a:buNone/>
              <a:defRPr sz="1500" b="1"/>
            </a:lvl2pPr>
            <a:lvl3pPr marL="683957" indent="0">
              <a:buNone/>
              <a:defRPr sz="1350" b="1"/>
            </a:lvl3pPr>
            <a:lvl4pPr marL="1025938" indent="0">
              <a:buNone/>
              <a:defRPr sz="1200" b="1"/>
            </a:lvl4pPr>
            <a:lvl5pPr marL="1367915" indent="0">
              <a:buNone/>
              <a:defRPr sz="1200" b="1"/>
            </a:lvl5pPr>
            <a:lvl6pPr marL="1709894" indent="0">
              <a:buNone/>
              <a:defRPr sz="1200" b="1"/>
            </a:lvl6pPr>
            <a:lvl7pPr marL="2051873" indent="0">
              <a:buNone/>
              <a:defRPr sz="1200" b="1"/>
            </a:lvl7pPr>
            <a:lvl8pPr marL="2393851" indent="0">
              <a:buNone/>
              <a:defRPr sz="1200" b="1"/>
            </a:lvl8pPr>
            <a:lvl9pPr marL="273583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1"/>
          </p:nvPr>
        </p:nvSpPr>
        <p:spPr>
          <a:xfrm>
            <a:off x="700816" y="3501473"/>
            <a:ext cx="3852861" cy="1194786"/>
          </a:xfrm>
        </p:spPr>
        <p:txBody>
          <a:bodyPr/>
          <a:lstStyle>
            <a:lvl1pPr marL="173366" indent="-173366">
              <a:spcBef>
                <a:spcPts val="0"/>
              </a:spcBef>
              <a:defRPr lang="en-US" sz="15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5556" indent="-172184">
              <a:spcBef>
                <a:spcPts val="0"/>
              </a:spcBef>
              <a:defRPr lang="en-US" sz="135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0615" indent="-165059">
              <a:spcBef>
                <a:spcPts val="0"/>
              </a:spcBef>
              <a:defRPr lang="en-US" sz="12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85682" indent="-171188">
              <a:defRPr sz="1275"/>
            </a:lvl4pPr>
            <a:lvl5pPr marL="956869" indent="-154366">
              <a:defRPr sz="1275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4660916" y="2889378"/>
            <a:ext cx="4022725" cy="498598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 b="1" spc="0" baseline="0">
                <a:solidFill>
                  <a:schemeClr val="tx1">
                    <a:lumMod val="75000"/>
                  </a:schemeClr>
                </a:solidFill>
              </a:defRPr>
            </a:lvl1pPr>
            <a:lvl2pPr marL="341977" indent="0">
              <a:buNone/>
              <a:defRPr sz="1500" b="1"/>
            </a:lvl2pPr>
            <a:lvl3pPr marL="683957" indent="0">
              <a:buNone/>
              <a:defRPr sz="1350" b="1"/>
            </a:lvl3pPr>
            <a:lvl4pPr marL="1025938" indent="0">
              <a:buNone/>
              <a:defRPr sz="1200" b="1"/>
            </a:lvl4pPr>
            <a:lvl5pPr marL="1367915" indent="0">
              <a:buNone/>
              <a:defRPr sz="1200" b="1"/>
            </a:lvl5pPr>
            <a:lvl6pPr marL="1709894" indent="0">
              <a:buNone/>
              <a:defRPr sz="1200" b="1"/>
            </a:lvl6pPr>
            <a:lvl7pPr marL="2051873" indent="0">
              <a:buNone/>
              <a:defRPr sz="1200" b="1"/>
            </a:lvl7pPr>
            <a:lvl8pPr marL="2393851" indent="0">
              <a:buNone/>
              <a:defRPr sz="1200" b="1"/>
            </a:lvl8pPr>
            <a:lvl9pPr marL="273583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/>
          <p:cNvSpPr>
            <a:spLocks noGrp="1"/>
          </p:cNvSpPr>
          <p:nvPr>
            <p:ph sz="half" idx="16"/>
          </p:nvPr>
        </p:nvSpPr>
        <p:spPr>
          <a:xfrm>
            <a:off x="4660901" y="1745974"/>
            <a:ext cx="4022724" cy="1076449"/>
          </a:xfrm>
        </p:spPr>
        <p:txBody>
          <a:bodyPr/>
          <a:lstStyle>
            <a:lvl1pPr marL="173366" indent="-173366">
              <a:lnSpc>
                <a:spcPts val="1650"/>
              </a:lnSpc>
              <a:spcBef>
                <a:spcPts val="0"/>
              </a:spcBef>
              <a:defRPr lang="en-US" sz="15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5556" indent="-172184">
              <a:lnSpc>
                <a:spcPts val="1650"/>
              </a:lnSpc>
              <a:spcBef>
                <a:spcPts val="0"/>
              </a:spcBef>
              <a:defRPr lang="en-US" sz="135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0615" indent="-165059">
              <a:lnSpc>
                <a:spcPts val="1650"/>
              </a:lnSpc>
              <a:spcBef>
                <a:spcPts val="0"/>
              </a:spcBef>
              <a:defRPr lang="en-US" sz="12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85682" indent="-171188">
              <a:defRPr sz="1275"/>
            </a:lvl4pPr>
            <a:lvl5pPr marL="956869" indent="-154366">
              <a:defRPr sz="1275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half" idx="18"/>
          </p:nvPr>
        </p:nvSpPr>
        <p:spPr>
          <a:xfrm>
            <a:off x="4660916" y="3501473"/>
            <a:ext cx="4022725" cy="1194786"/>
          </a:xfrm>
        </p:spPr>
        <p:txBody>
          <a:bodyPr/>
          <a:lstStyle>
            <a:lvl1pPr marL="173366" indent="-173366">
              <a:spcBef>
                <a:spcPts val="0"/>
              </a:spcBef>
              <a:defRPr lang="en-US" sz="15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5556" indent="-172184">
              <a:spcBef>
                <a:spcPts val="0"/>
              </a:spcBef>
              <a:defRPr lang="en-US" sz="135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0615" indent="-165059">
              <a:spcBef>
                <a:spcPts val="0"/>
              </a:spcBef>
              <a:defRPr lang="en-US" sz="1200" b="1" kern="120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85682" indent="-171188">
              <a:defRPr sz="1275"/>
            </a:lvl4pPr>
            <a:lvl5pPr marL="956869" indent="-154366">
              <a:defRPr sz="1275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19"/>
          </p:nvPr>
        </p:nvSpPr>
        <p:spPr>
          <a:xfrm>
            <a:off x="457200" y="4806848"/>
            <a:ext cx="2133600" cy="273844"/>
          </a:xfrm>
          <a:prstGeom prst="rect">
            <a:avLst/>
          </a:prstGeom>
        </p:spPr>
        <p:txBody>
          <a:bodyPr vert="horz" lIns="91198" tIns="45600" rIns="91198" bIns="45600" rtlCol="0" anchor="ctr"/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20"/>
          </p:nvPr>
        </p:nvSpPr>
        <p:spPr>
          <a:xfrm>
            <a:off x="6245382" y="4807466"/>
            <a:ext cx="2306211" cy="273844"/>
          </a:xfrm>
          <a:prstGeom prst="rect">
            <a:avLst/>
          </a:prstGeom>
        </p:spPr>
        <p:txBody>
          <a:bodyPr vert="horz" lIns="91198" tIns="45600" rIns="91198" bIns="45600" rtlCol="0" anchor="ctr"/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Bill &amp; Melinda Gates Foundation|Confidential Materials</a:t>
            </a:r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94192" y="4809050"/>
            <a:ext cx="384048" cy="273844"/>
          </a:xfrm>
          <a:prstGeom prst="rect">
            <a:avLst/>
          </a:prstGeom>
        </p:spPr>
        <p:txBody>
          <a:bodyPr vert="horz" lIns="91198" tIns="45600" rIns="91198" bIns="45600" rtlCol="0" anchor="ctr"/>
          <a:lstStyle>
            <a:lvl1pPr algn="r">
              <a:defRPr sz="750">
                <a:solidFill>
                  <a:schemeClr val="bg1"/>
                </a:solidFill>
              </a:defRPr>
            </a:lvl1pPr>
          </a:lstStyle>
          <a:p>
            <a:fld id="{6FE27C41-116F-4622-B250-F19A9812A205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8987882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auto">
          <a:xfrm>
            <a:off x="0" y="4720526"/>
            <a:ext cx="9144000" cy="423001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68396" tIns="34199" rIns="68396" bIns="34199" numCol="1" rtlCol="0" anchor="ctr" anchorCtr="0" compatLnSpc="1">
            <a:prstTxWarp prst="textNoShape">
              <a:avLst/>
            </a:prstTxWarp>
          </a:bodyPr>
          <a:lstStyle/>
          <a:p>
            <a:pPr algn="ctr" defTabSz="683761"/>
            <a:endParaRPr lang="en-US" sz="1725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0090" y="347596"/>
            <a:ext cx="7983537" cy="373949"/>
          </a:xfrm>
        </p:spPr>
        <p:txBody>
          <a:bodyPr>
            <a:spAutoFit/>
          </a:bodyPr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806848"/>
            <a:ext cx="2133600" cy="273844"/>
          </a:xfrm>
          <a:prstGeom prst="rect">
            <a:avLst/>
          </a:prstGeom>
        </p:spPr>
        <p:txBody>
          <a:bodyPr vert="horz" lIns="91198" tIns="45600" rIns="91198" bIns="45600" rtlCol="0" anchor="ctr"/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5382" y="4807466"/>
            <a:ext cx="2306211" cy="273844"/>
          </a:xfrm>
          <a:prstGeom prst="rect">
            <a:avLst/>
          </a:prstGeom>
        </p:spPr>
        <p:txBody>
          <a:bodyPr vert="horz" lIns="91198" tIns="45600" rIns="91198" bIns="45600" rtlCol="0" anchor="ctr"/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Bill &amp; Melinda Gates Foundation|Confidential Material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94192" y="4809050"/>
            <a:ext cx="384048" cy="273844"/>
          </a:xfrm>
          <a:prstGeom prst="rect">
            <a:avLst/>
          </a:prstGeom>
        </p:spPr>
        <p:txBody>
          <a:bodyPr vert="horz" lIns="91198" tIns="45600" rIns="91198" bIns="45600" rtlCol="0" anchor="ctr"/>
          <a:lstStyle>
            <a:lvl1pPr algn="r">
              <a:defRPr sz="750">
                <a:solidFill>
                  <a:schemeClr val="bg1"/>
                </a:solidFill>
              </a:defRPr>
            </a:lvl1pPr>
          </a:lstStyle>
          <a:p>
            <a:fld id="{6FE27C41-116F-4622-B250-F19A9812A205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376122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auto">
          <a:xfrm>
            <a:off x="0" y="4720526"/>
            <a:ext cx="9144000" cy="423001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68396" tIns="34199" rIns="68396" bIns="34199" numCol="1" rtlCol="0" anchor="ctr" anchorCtr="0" compatLnSpc="1">
            <a:prstTxWarp prst="textNoShape">
              <a:avLst/>
            </a:prstTxWarp>
          </a:bodyPr>
          <a:lstStyle/>
          <a:p>
            <a:pPr algn="ctr" defTabSz="683761"/>
            <a:endParaRPr lang="en-US" sz="1725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806848"/>
            <a:ext cx="2133600" cy="273844"/>
          </a:xfrm>
          <a:prstGeom prst="rect">
            <a:avLst/>
          </a:prstGeom>
        </p:spPr>
        <p:txBody>
          <a:bodyPr vert="horz" lIns="91198" tIns="45600" rIns="91198" bIns="45600" rtlCol="0" anchor="ctr"/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5382" y="4807466"/>
            <a:ext cx="2306211" cy="273844"/>
          </a:xfrm>
          <a:prstGeom prst="rect">
            <a:avLst/>
          </a:prstGeom>
        </p:spPr>
        <p:txBody>
          <a:bodyPr vert="horz" lIns="91198" tIns="45600" rIns="91198" bIns="45600" rtlCol="0" anchor="ctr"/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srgbClr val="FFFFFF"/>
                </a:solidFill>
              </a:rPr>
              <a:t>Bill &amp; Melinda Gates Foundation|Confidential Material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94192" y="4809050"/>
            <a:ext cx="384048" cy="273844"/>
          </a:xfrm>
          <a:prstGeom prst="rect">
            <a:avLst/>
          </a:prstGeom>
        </p:spPr>
        <p:txBody>
          <a:bodyPr vert="horz" lIns="91198" tIns="45600" rIns="91198" bIns="45600" rtlCol="0" anchor="ctr"/>
          <a:lstStyle>
            <a:lvl1pPr algn="r">
              <a:defRPr sz="750">
                <a:solidFill>
                  <a:schemeClr val="bg1"/>
                </a:solidFill>
              </a:defRPr>
            </a:lvl1pPr>
          </a:lstStyle>
          <a:p>
            <a:fld id="{6FE27C41-116F-4622-B250-F19A9812A205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003270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3400"/>
              </a:lnSpc>
              <a:spcBef>
                <a:spcPts val="1200"/>
              </a:spcBef>
              <a:buNone/>
              <a:defRPr lang="en-US" sz="3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039514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8106401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9"/>
            <a:ext cx="9144000" cy="5143500"/>
          </a:xfrm>
        </p:spPr>
        <p:txBody>
          <a:bodyPr lIns="4833496" tIns="91198" rIns="0" bIns="0" anchor="ctr"/>
          <a:lstStyle>
            <a:lvl1pPr marL="0" indent="0" algn="l">
              <a:buNone/>
              <a:defRPr baseline="0"/>
            </a:lvl1pPr>
          </a:lstStyle>
          <a:p>
            <a:r>
              <a:rPr lang="en-US"/>
              <a:t>Click on the icon to insert a </a:t>
            </a:r>
            <a:br>
              <a:rPr lang="en-US"/>
            </a:br>
            <a:r>
              <a:rPr lang="en-US"/>
              <a:t>new photo. Detailed instructions </a:t>
            </a:r>
            <a:br>
              <a:rPr lang="en-US"/>
            </a:br>
            <a:r>
              <a:rPr lang="en-US"/>
              <a:t>can be found on the slide titled</a:t>
            </a:r>
            <a:br>
              <a:rPr lang="en-US"/>
            </a:br>
            <a:r>
              <a:rPr lang="en-US"/>
              <a:t>“CHANGING THE PHOTO ON </a:t>
            </a:r>
            <a:br>
              <a:rPr lang="en-US"/>
            </a:br>
            <a:r>
              <a:rPr lang="en-US"/>
              <a:t>YOUR TITLE SLIDE.”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365125" y="1812049"/>
            <a:ext cx="4111626" cy="747897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INSERT main TITLE HERE – UP TO 2 LINES</a:t>
            </a:r>
            <a:endParaRPr lang="en-US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5" y="2722312"/>
            <a:ext cx="4111626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050" baseline="0">
                <a:solidFill>
                  <a:schemeClr val="bg1"/>
                </a:solidFill>
              </a:defRPr>
            </a:lvl1pPr>
            <a:lvl2pPr marL="3419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39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59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6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099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19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39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359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65154" y="4056089"/>
            <a:ext cx="4111625" cy="760868"/>
          </a:xfrm>
        </p:spPr>
        <p:txBody>
          <a:bodyPr/>
          <a:lstStyle>
            <a:lvl1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  <a:lvl2pPr marL="1191" indent="0">
              <a:lnSpc>
                <a:spcPts val="1275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2pPr>
            <a:lvl3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3pPr>
            <a:lvl4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4pPr>
            <a:lvl5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1"/>
            <a:r>
              <a:rPr lang="en-US"/>
              <a:t>Presenter Name 2</a:t>
            </a:r>
          </a:p>
          <a:p>
            <a:pPr lvl="2"/>
            <a:r>
              <a:rPr lang="en-US"/>
              <a:t>Presenter Name 3</a:t>
            </a:r>
          </a:p>
        </p:txBody>
      </p:sp>
    </p:spTree>
    <p:extLst>
      <p:ext uri="{BB962C8B-B14F-4D97-AF65-F5344CB8AC3E}">
        <p14:creationId xmlns:p14="http://schemas.microsoft.com/office/powerpoint/2010/main" val="2854633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44776"/>
            <a:ext cx="4140200" cy="847549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6" y="2722335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6062"/>
            <a:ext cx="4140200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4" y="3493008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>
                <a:solidFill>
                  <a:schemeClr val="bg1"/>
                </a:solidFill>
              </a:defRPr>
            </a:lvl1pPr>
          </a:lstStyle>
          <a:p>
            <a:pPr algn="r"/>
            <a:r>
              <a:rPr lang="en-US" dirty="0"/>
              <a:t>© 2014 Bill &amp; Melinda Gates Foundation</a:t>
            </a:r>
          </a:p>
        </p:txBody>
      </p:sp>
    </p:spTree>
    <p:extLst>
      <p:ext uri="{BB962C8B-B14F-4D97-AF65-F5344CB8AC3E}">
        <p14:creationId xmlns:p14="http://schemas.microsoft.com/office/powerpoint/2010/main" val="1286993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04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300"/>
              </a:lnSpc>
              <a:defRPr sz="2300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5" y="2626207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400" b="0">
                <a:solidFill>
                  <a:schemeClr val="accent4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5" y="4059936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5" y="3493008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25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500"/>
            </a:lvl1pPr>
          </a:lstStyle>
          <a:p>
            <a:pPr algn="r"/>
            <a:r>
              <a:rPr lang="en-US" dirty="0"/>
              <a:t>© 2014 Bill &amp; Melinda Gates Foundation</a:t>
            </a:r>
          </a:p>
        </p:txBody>
      </p:sp>
    </p:spTree>
    <p:extLst>
      <p:ext uri="{BB962C8B-B14F-4D97-AF65-F5344CB8AC3E}">
        <p14:creationId xmlns:p14="http://schemas.microsoft.com/office/powerpoint/2010/main" val="1620455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3400"/>
              </a:lnSpc>
              <a:spcBef>
                <a:spcPts val="1200"/>
              </a:spcBef>
              <a:buNone/>
              <a:defRPr lang="en-US" sz="300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36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36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359064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4" y="1289050"/>
            <a:ext cx="8329613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 baseline="0"/>
            </a:lvl1pPr>
            <a:lvl2pPr marL="171450" indent="-171450"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38" indent="-173038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6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3846900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4" y="1139720"/>
            <a:ext cx="8329613" cy="298660"/>
          </a:xfrm>
        </p:spPr>
        <p:txBody>
          <a:bodyPr/>
          <a:lstStyle>
            <a:lvl1pPr>
              <a:lnSpc>
                <a:spcPts val="1600"/>
              </a:lnSpc>
              <a:spcBef>
                <a:spcPts val="0"/>
              </a:spcBef>
              <a:defRPr sz="1400" b="1" baseline="0"/>
            </a:lvl1pPr>
            <a:lvl2pPr marL="171450" indent="-171450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38" indent="-173038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5" y="1528723"/>
            <a:ext cx="8347075" cy="3166203"/>
          </a:xfrm>
        </p:spPr>
        <p:txBody>
          <a:bodyPr/>
          <a:lstStyle>
            <a:lvl1pPr>
              <a:spcBef>
                <a:spcPts val="600"/>
              </a:spcBef>
              <a:defRPr sz="1300"/>
            </a:lvl1pPr>
            <a:lvl2pPr>
              <a:spcBef>
                <a:spcPts val="600"/>
              </a:spcBef>
              <a:defRPr sz="13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100"/>
            </a:lvl4pPr>
            <a:lvl5pPr>
              <a:spcBef>
                <a:spcPts val="6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1452043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8" y="534708"/>
            <a:ext cx="5046662" cy="4151592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853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5" y="871710"/>
            <a:ext cx="8329613" cy="450099"/>
          </a:xfrm>
        </p:spPr>
        <p:txBody>
          <a:bodyPr/>
          <a:lstStyle>
            <a:lvl1pPr marL="0" indent="0">
              <a:buNone/>
              <a:defRPr sz="1250" baseline="0"/>
            </a:lvl1pPr>
            <a:lvl2pPr marL="0" indent="0">
              <a:buFont typeface="Arial" panose="020B0604020202020204" pitchFamily="34" charset="0"/>
              <a:buNone/>
              <a:defRPr sz="1250"/>
            </a:lvl2pPr>
            <a:lvl3pPr marL="0" indent="0">
              <a:buNone/>
              <a:defRPr sz="1250"/>
            </a:lvl3pPr>
            <a:lvl4pPr marL="0" indent="0">
              <a:buNone/>
              <a:defRPr sz="1250"/>
            </a:lvl4pPr>
            <a:lvl5pPr marL="0" indent="0">
              <a:buNone/>
              <a:defRPr sz="1250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4" y="1462088"/>
            <a:ext cx="8329613" cy="3216275"/>
          </a:xfrm>
        </p:spPr>
        <p:txBody>
          <a:bodyPr tIns="1097280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38193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</p:spTree>
    <p:extLst>
      <p:ext uri="{BB962C8B-B14F-4D97-AF65-F5344CB8AC3E}">
        <p14:creationId xmlns:p14="http://schemas.microsoft.com/office/powerpoint/2010/main" val="17571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1289050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424395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4" y="1289050"/>
            <a:ext cx="8329613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 baseline="0"/>
            </a:lvl1pPr>
            <a:lvl2pPr marL="171450" indent="-171450"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38" indent="-173038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6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754049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dirty="0"/>
              <a:t>© Bill &amp; Melinda Gates Foundation      |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488950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</p:spTree>
    <p:extLst>
      <p:ext uri="{BB962C8B-B14F-4D97-AF65-F5344CB8AC3E}">
        <p14:creationId xmlns:p14="http://schemas.microsoft.com/office/powerpoint/2010/main" val="1452889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3" y="0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567244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3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3665539" y="2635250"/>
            <a:ext cx="1825832" cy="250825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5558829" y="2635250"/>
            <a:ext cx="3585172" cy="250825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65538" y="0"/>
            <a:ext cx="5478462" cy="254203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1230604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4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7325138" y="0"/>
            <a:ext cx="1818861" cy="254203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3665538" y="0"/>
            <a:ext cx="3599965" cy="254203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3665539" y="2601468"/>
            <a:ext cx="1825832" cy="254203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5560943" y="2601468"/>
            <a:ext cx="3583057" cy="254203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2285085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5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7360920" y="0"/>
            <a:ext cx="1783080" cy="2551113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3665537" y="0"/>
            <a:ext cx="3629785" cy="2551113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5513229" y="2611438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3665538" y="2611439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7360920" y="2609253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03952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6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7360920" y="0"/>
            <a:ext cx="1783080" cy="1704561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3665537" y="0"/>
            <a:ext cx="3629785" cy="3096039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1" hasCustomPrompt="1"/>
          </p:nvPr>
        </p:nvSpPr>
        <p:spPr>
          <a:xfrm>
            <a:off x="7360920" y="1764194"/>
            <a:ext cx="1783080" cy="1331845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on the icon to insert a new photo</a:t>
            </a: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5513229" y="3155673"/>
            <a:ext cx="1783080" cy="199001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3665538" y="3155674"/>
            <a:ext cx="1783080" cy="199001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7360920" y="3153488"/>
            <a:ext cx="1783080" cy="1990012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3447231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6 Image Grid-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5513229" y="2611438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3665538" y="2611439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8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7360920" y="2609253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5513229" y="2185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3665538" y="2186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1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7360920" y="0"/>
            <a:ext cx="1783080" cy="2534247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41037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4" y="3687417"/>
            <a:ext cx="8329613" cy="100523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 baseline="0"/>
            </a:lvl1pPr>
            <a:lvl2pPr marL="171450" indent="-171450">
              <a:spcBef>
                <a:spcPts val="6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38" indent="-173038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6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357188" y="1198563"/>
            <a:ext cx="8355012" cy="2369585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10222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2463639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4" y="1128091"/>
            <a:ext cx="8329613" cy="383742"/>
          </a:xfrm>
        </p:spPr>
        <p:txBody>
          <a:bodyPr/>
          <a:lstStyle>
            <a:lvl1pPr>
              <a:spcBef>
                <a:spcPts val="600"/>
              </a:spcBef>
              <a:defRPr sz="1400" b="0" baseline="0"/>
            </a:lvl1pPr>
            <a:lvl2pPr marL="171450" indent="-171450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38" indent="-173038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336"/>
              </a:spcBef>
              <a:defRPr baseline="0"/>
            </a:lvl5pPr>
          </a:lstStyle>
          <a:p>
            <a:pPr lvl="0"/>
            <a:r>
              <a:rPr lang="en-US"/>
              <a:t>Explanatory text goes here, up to 2 lines. This slide accommodates 21 headshots.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57188" y="157513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2839338" y="157513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321488" y="157513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803635" y="157513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47075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HEADSHOT SLIDE (MAX OF 21)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598263" y="157513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0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080413" y="157513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562563" y="1575139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57188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839338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5321488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7803635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1598263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4080413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5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562563" y="2674748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357188" y="3774357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839338" y="3774357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5321488" y="3774357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7803635" y="3774357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1598263" y="3774357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4080413" y="3774357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562563" y="3774357"/>
            <a:ext cx="908565" cy="908565"/>
          </a:xfrm>
          <a:noFill/>
        </p:spPr>
        <p:txBody>
          <a:bodyPr/>
          <a:lstStyle>
            <a:lvl1pPr algn="l">
              <a:defRPr sz="800"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20578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4" y="1139720"/>
            <a:ext cx="8329613" cy="298660"/>
          </a:xfrm>
        </p:spPr>
        <p:txBody>
          <a:bodyPr/>
          <a:lstStyle>
            <a:lvl1pPr>
              <a:lnSpc>
                <a:spcPts val="1600"/>
              </a:lnSpc>
              <a:spcBef>
                <a:spcPts val="0"/>
              </a:spcBef>
              <a:defRPr sz="1400" b="1" baseline="0"/>
            </a:lvl1pPr>
            <a:lvl2pPr marL="171450" indent="-171450">
              <a:spcBef>
                <a:spcPts val="336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300"/>
            </a:lvl2pPr>
            <a:lvl3pPr marL="342900" indent="-171450">
              <a:spcBef>
                <a:spcPts val="336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515938" indent="-173038">
              <a:spcBef>
                <a:spcPts val="336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687388" indent="-171450">
              <a:spcBef>
                <a:spcPts val="336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5" y="1528723"/>
            <a:ext cx="8347075" cy="3166203"/>
          </a:xfrm>
        </p:spPr>
        <p:txBody>
          <a:bodyPr/>
          <a:lstStyle>
            <a:lvl1pPr>
              <a:spcBef>
                <a:spcPts val="600"/>
              </a:spcBef>
              <a:defRPr sz="1300"/>
            </a:lvl1pPr>
            <a:lvl2pPr>
              <a:spcBef>
                <a:spcPts val="600"/>
              </a:spcBef>
              <a:defRPr sz="130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100"/>
            </a:lvl4pPr>
            <a:lvl5pPr>
              <a:spcBef>
                <a:spcPts val="600"/>
              </a:spcBef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138992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/>
              <a:t>© Bill &amp; Melinda Gates Foundation      |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188" y="121443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1788238" y="194552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18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357188" y="278288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19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1788238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20" name="Picture Placeholder 20"/>
          <p:cNvSpPr>
            <a:spLocks noGrp="1"/>
          </p:cNvSpPr>
          <p:nvPr>
            <p:ph type="pic" sz="quarter" idx="20" hasCustomPrompt="1"/>
          </p:nvPr>
        </p:nvSpPr>
        <p:spPr>
          <a:xfrm>
            <a:off x="3193271" y="121443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22" name="Text Placeholder 22"/>
          <p:cNvSpPr>
            <a:spLocks noGrp="1"/>
          </p:cNvSpPr>
          <p:nvPr>
            <p:ph type="body" sz="quarter" idx="21" hasCustomPrompt="1"/>
          </p:nvPr>
        </p:nvSpPr>
        <p:spPr>
          <a:xfrm>
            <a:off x="4624321" y="194552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30" name="Picture Placeholder 20"/>
          <p:cNvSpPr>
            <a:spLocks noGrp="1"/>
          </p:cNvSpPr>
          <p:nvPr>
            <p:ph type="pic" sz="quarter" idx="22" hasCustomPrompt="1"/>
          </p:nvPr>
        </p:nvSpPr>
        <p:spPr>
          <a:xfrm>
            <a:off x="3193271" y="278288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31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24321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32" name="Picture Placeholder 20"/>
          <p:cNvSpPr>
            <a:spLocks noGrp="1"/>
          </p:cNvSpPr>
          <p:nvPr>
            <p:ph type="pic" sz="quarter" idx="24" hasCustomPrompt="1"/>
          </p:nvPr>
        </p:nvSpPr>
        <p:spPr>
          <a:xfrm>
            <a:off x="6015759" y="121443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25" hasCustomPrompt="1"/>
          </p:nvPr>
        </p:nvSpPr>
        <p:spPr>
          <a:xfrm>
            <a:off x="7446809" y="194552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34" name="Picture Placeholder 20"/>
          <p:cNvSpPr>
            <a:spLocks noGrp="1"/>
          </p:cNvSpPr>
          <p:nvPr>
            <p:ph type="pic" sz="quarter" idx="26" hasCustomPrompt="1"/>
          </p:nvPr>
        </p:nvSpPr>
        <p:spPr>
          <a:xfrm>
            <a:off x="6015759" y="2782888"/>
            <a:ext cx="1371600" cy="1371600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7" hasCustomPrompt="1"/>
          </p:nvPr>
        </p:nvSpPr>
        <p:spPr>
          <a:xfrm>
            <a:off x="7446809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First Last</a:t>
            </a:r>
          </a:p>
          <a:p>
            <a:pPr lvl="1"/>
            <a:r>
              <a:rPr lang="en-US"/>
              <a:t>Title of individual </a:t>
            </a:r>
            <a:br>
              <a:rPr lang="en-US"/>
            </a:br>
            <a:r>
              <a:rPr lang="en-US"/>
              <a:t>or short description of presentation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47075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HEADSHOT SLIDE (MAX OF 5 – SPEAKER OR TEAM LAYOUT</a:t>
            </a:r>
          </a:p>
        </p:txBody>
      </p:sp>
    </p:spTree>
    <p:extLst>
      <p:ext uri="{BB962C8B-B14F-4D97-AF65-F5344CB8AC3E}">
        <p14:creationId xmlns:p14="http://schemas.microsoft.com/office/powerpoint/2010/main" val="2577995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8" y="3299828"/>
            <a:ext cx="8355012" cy="1464260"/>
          </a:xfrm>
        </p:spPr>
        <p:txBody>
          <a:bodyPr anchor="t"/>
          <a:lstStyle>
            <a:lvl1pPr marL="0" indent="0">
              <a:spcBef>
                <a:spcPts val="600"/>
              </a:spcBef>
              <a:buNone/>
              <a:defRPr sz="1400" b="0" baseline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Insert explanatory copy here.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57188" y="2946461"/>
            <a:ext cx="8355012" cy="349398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300" b="1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Insert subtitle here – recommend a limit of 1 lin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5967779" y="1287587"/>
            <a:ext cx="2742652" cy="1563563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3166345" y="1292809"/>
            <a:ext cx="2739888" cy="1558341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65408" y="1290434"/>
            <a:ext cx="2740475" cy="1560716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098573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357188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50" indent="-171450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000" baseline="0"/>
            </a:lvl2pPr>
            <a:lvl3pPr marL="341313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00050" algn="l"/>
              </a:tabLst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Key word</a:t>
            </a:r>
          </a:p>
          <a:p>
            <a:pPr lvl="1"/>
            <a:r>
              <a:rPr lang="en-US"/>
              <a:t>Insert descriptive text here</a:t>
            </a:r>
          </a:p>
          <a:p>
            <a:pPr lvl="2"/>
            <a:r>
              <a:rPr lang="en-US"/>
              <a:t>Level 2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363814" y="1142093"/>
            <a:ext cx="8355012" cy="468046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400" b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8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Insert explanatory copy here.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 hasCustomPrompt="1"/>
          </p:nvPr>
        </p:nvSpPr>
        <p:spPr>
          <a:xfrm>
            <a:off x="4663194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 hasCustomPrompt="1"/>
          </p:nvPr>
        </p:nvSpPr>
        <p:spPr>
          <a:xfrm>
            <a:off x="2510191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 hasCustomPrompt="1"/>
          </p:nvPr>
        </p:nvSpPr>
        <p:spPr>
          <a:xfrm>
            <a:off x="357188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33" name="Picture Placeholder 20"/>
          <p:cNvSpPr>
            <a:spLocks noGrp="1"/>
          </p:cNvSpPr>
          <p:nvPr>
            <p:ph type="pic" sz="quarter" idx="21" hasCustomPrompt="1"/>
          </p:nvPr>
        </p:nvSpPr>
        <p:spPr>
          <a:xfrm>
            <a:off x="6832537" y="1754074"/>
            <a:ext cx="1865376" cy="1490472"/>
          </a:xfrm>
          <a:noFill/>
        </p:spPr>
        <p:txBody>
          <a:bodyPr tIns="91440"/>
          <a:lstStyle>
            <a:lvl1pPr marL="0" indent="0" algn="ctr">
              <a:buNone/>
              <a:defRPr sz="900" baseline="0"/>
            </a:lvl1pPr>
          </a:lstStyle>
          <a:p>
            <a:r>
              <a:rPr lang="en-US" dirty="0"/>
              <a:t>Click icon to </a:t>
            </a:r>
            <a:br>
              <a:rPr lang="en-US" dirty="0"/>
            </a:br>
            <a:r>
              <a:rPr lang="en-US" dirty="0"/>
              <a:t>insert a photo</a:t>
            </a:r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22" hasCustomPrompt="1"/>
          </p:nvPr>
        </p:nvSpPr>
        <p:spPr>
          <a:xfrm>
            <a:off x="2510191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50" indent="-171450">
              <a:spcBef>
                <a:spcPts val="600"/>
              </a:spcBef>
              <a:buFont typeface="Wingdings" panose="05000000000000000000" pitchFamily="2" charset="2"/>
              <a:buChar char="§"/>
              <a:defRPr sz="1000" baseline="0"/>
            </a:lvl2pPr>
            <a:lvl3pPr marL="341313" indent="-171450"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Key word</a:t>
            </a:r>
          </a:p>
          <a:p>
            <a:pPr lvl="1"/>
            <a:r>
              <a:rPr lang="en-US"/>
              <a:t>Insert descriptive text here</a:t>
            </a:r>
          </a:p>
          <a:p>
            <a:pPr lvl="2"/>
            <a:r>
              <a:rPr lang="en-US"/>
              <a:t>Level 2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3" hasCustomPrompt="1"/>
          </p:nvPr>
        </p:nvSpPr>
        <p:spPr>
          <a:xfrm>
            <a:off x="4663194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50" indent="-171450">
              <a:spcBef>
                <a:spcPts val="600"/>
              </a:spcBef>
              <a:buFont typeface="Wingdings" panose="05000000000000000000" pitchFamily="2" charset="2"/>
              <a:buChar char="§"/>
              <a:defRPr sz="1000" baseline="0"/>
            </a:lvl2pPr>
            <a:lvl3pPr marL="341313" indent="-171450"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Key word</a:t>
            </a:r>
          </a:p>
          <a:p>
            <a:pPr lvl="1"/>
            <a:r>
              <a:rPr lang="en-US"/>
              <a:t>Insert descriptive text here</a:t>
            </a:r>
          </a:p>
          <a:p>
            <a:pPr lvl="2"/>
            <a:r>
              <a:rPr lang="en-US"/>
              <a:t>Level 2</a:t>
            </a:r>
          </a:p>
        </p:txBody>
      </p:sp>
      <p:sp>
        <p:nvSpPr>
          <p:cNvPr id="36" name="Text Placeholder 22"/>
          <p:cNvSpPr>
            <a:spLocks noGrp="1"/>
          </p:cNvSpPr>
          <p:nvPr>
            <p:ph type="body" sz="quarter" idx="24" hasCustomPrompt="1"/>
          </p:nvPr>
        </p:nvSpPr>
        <p:spPr>
          <a:xfrm>
            <a:off x="6841681" y="3378252"/>
            <a:ext cx="1856232" cy="1302930"/>
          </a:xfrm>
        </p:spPr>
        <p:txBody>
          <a:bodyPr anchor="t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8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71450" indent="-171450">
              <a:spcBef>
                <a:spcPts val="600"/>
              </a:spcBef>
              <a:buFont typeface="Wingdings" panose="05000000000000000000" pitchFamily="2" charset="2"/>
              <a:buChar char="§"/>
              <a:defRPr sz="1000" baseline="0"/>
            </a:lvl2pPr>
            <a:lvl3pPr marL="341313" indent="-171450"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00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Key word</a:t>
            </a:r>
          </a:p>
          <a:p>
            <a:pPr lvl="1"/>
            <a:r>
              <a:rPr lang="en-US"/>
              <a:t>Insert descriptive text here</a:t>
            </a:r>
          </a:p>
          <a:p>
            <a:pPr lvl="2"/>
            <a:r>
              <a:rPr lang="en-US"/>
              <a:t>Level 2</a:t>
            </a:r>
          </a:p>
        </p:txBody>
      </p:sp>
    </p:spTree>
    <p:extLst>
      <p:ext uri="{BB962C8B-B14F-4D97-AF65-F5344CB8AC3E}">
        <p14:creationId xmlns:p14="http://schemas.microsoft.com/office/powerpoint/2010/main" val="2761936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5356" y="1131570"/>
            <a:ext cx="8271775" cy="3463290"/>
          </a:xfrm>
        </p:spPr>
        <p:txBody>
          <a:bodyPr/>
          <a:lstStyle>
            <a:lvl1pPr>
              <a:spcBef>
                <a:spcPts val="288"/>
              </a:spcBef>
              <a:defRPr/>
            </a:lvl1pPr>
            <a:lvl2pPr marL="342900" indent="-172800">
              <a:spcBef>
                <a:spcPts val="288"/>
              </a:spcBef>
              <a:defRPr/>
            </a:lvl2pPr>
            <a:lvl3pPr marL="685800" indent="-172800">
              <a:spcBef>
                <a:spcPts val="288"/>
              </a:spcBef>
              <a:defRPr/>
            </a:lvl3pPr>
            <a:lvl4pPr marL="1031400" indent="-175500">
              <a:spcBef>
                <a:spcPts val="288"/>
              </a:spcBef>
              <a:defRPr/>
            </a:lvl4pPr>
            <a:lvl5pPr marL="1544400" indent="-172800">
              <a:spcBef>
                <a:spcPts val="288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08924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4728" name="Rectangle 15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Gates-logo.png"/>
          <p:cNvPicPr>
            <a:picLocks noChangeAspect="1"/>
          </p:cNvPicPr>
          <p:nvPr userDrawn="1"/>
        </p:nvPicPr>
        <p:blipFill>
          <a:blip r:embed="rId5" cstate="email"/>
          <a:stretch>
            <a:fillRect/>
          </a:stretch>
        </p:blipFill>
        <p:spPr>
          <a:xfrm>
            <a:off x="7460916" y="28576"/>
            <a:ext cx="1251283" cy="1251283"/>
          </a:xfrm>
          <a:prstGeom prst="rect">
            <a:avLst/>
          </a:prstGeom>
        </p:spPr>
      </p:pic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5" y="4059936"/>
            <a:ext cx="8329613" cy="760868"/>
          </a:xfrm>
        </p:spPr>
        <p:txBody>
          <a:bodyPr/>
          <a:lstStyle>
            <a:lvl1pPr marL="1588" indent="0">
              <a:lnSpc>
                <a:spcPts val="1700"/>
              </a:lnSpc>
              <a:spcBef>
                <a:spcPts val="0"/>
              </a:spcBef>
              <a:buNone/>
              <a:defRPr sz="1200" b="0">
                <a:solidFill>
                  <a:schemeClr val="bg1">
                    <a:lumMod val="50000"/>
                  </a:schemeClr>
                </a:solidFill>
              </a:defRPr>
            </a:lvl1pPr>
            <a:lvl2pPr marL="1588" indent="0">
              <a:lnSpc>
                <a:spcPts val="1700"/>
              </a:lnSpc>
              <a:spcBef>
                <a:spcPts val="0"/>
              </a:spcBef>
              <a:buFont typeface="Arial" panose="020B0604020202020204" pitchFamily="34" charset="0"/>
              <a:buNone/>
              <a:defRPr sz="1200">
                <a:solidFill>
                  <a:schemeClr val="bg1"/>
                </a:solidFill>
              </a:defRPr>
            </a:lvl2pPr>
            <a:lvl3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3pPr>
            <a:lvl4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4pPr>
            <a:lvl5pPr marL="1588" indent="0">
              <a:lnSpc>
                <a:spcPts val="1700"/>
              </a:lnSpc>
              <a:spcBef>
                <a:spcPts val="0"/>
              </a:spcBef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Presenters (Arial 12 pt, gray)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65125" y="1864704"/>
            <a:ext cx="8347074" cy="711809"/>
          </a:xfr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ts val="2300"/>
              </a:lnSpc>
              <a:spcBef>
                <a:spcPct val="0"/>
              </a:spcBef>
              <a:buNone/>
              <a:defRPr lang="en-US" sz="2300" b="0" kern="1200" cap="all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defTabSz="914400" rtl="0" eaLnBrk="1" latinLnBrk="0" hangingPunct="1">
              <a:lnSpc>
                <a:spcPts val="2300"/>
              </a:lnSpc>
              <a:spcBef>
                <a:spcPct val="0"/>
              </a:spcBef>
              <a:buNone/>
              <a:defRPr lang="en-US" sz="2300" b="0" kern="1200" cap="all" baseline="0" dirty="0" smtClean="0">
                <a:solidFill>
                  <a:schemeClr val="accent6"/>
                </a:solidFill>
                <a:latin typeface="Arial" pitchFamily="34" charset="0"/>
                <a:ea typeface="+mj-ea"/>
                <a:cs typeface="Arial" pitchFamily="34" charset="0"/>
              </a:defRPr>
            </a:lvl2pPr>
            <a:lvl3pPr algn="l" defTabSz="914400" rtl="0" eaLnBrk="1" latinLnBrk="0" hangingPunct="1">
              <a:lnSpc>
                <a:spcPts val="2300"/>
              </a:lnSpc>
              <a:spcBef>
                <a:spcPct val="0"/>
              </a:spcBef>
              <a:buNone/>
              <a:defRPr lang="en-US" sz="2300" b="0" kern="1200" cap="all" baseline="0" dirty="0" smtClean="0">
                <a:solidFill>
                  <a:schemeClr val="accent6"/>
                </a:solidFill>
                <a:latin typeface="Arial" pitchFamily="34" charset="0"/>
                <a:ea typeface="+mj-ea"/>
                <a:cs typeface="Arial" pitchFamily="34" charset="0"/>
              </a:defRPr>
            </a:lvl3pPr>
            <a:lvl4pPr algn="l" defTabSz="914400" rtl="0" eaLnBrk="1" latinLnBrk="0" hangingPunct="1">
              <a:lnSpc>
                <a:spcPts val="2300"/>
              </a:lnSpc>
              <a:spcBef>
                <a:spcPct val="0"/>
              </a:spcBef>
              <a:buNone/>
              <a:defRPr lang="en-US" sz="2300" b="0" kern="1200" cap="all" baseline="0" dirty="0" smtClean="0">
                <a:solidFill>
                  <a:schemeClr val="accent6"/>
                </a:solidFill>
                <a:latin typeface="Arial" pitchFamily="34" charset="0"/>
                <a:ea typeface="+mj-ea"/>
                <a:cs typeface="Arial" pitchFamily="34" charset="0"/>
              </a:defRPr>
            </a:lvl4pPr>
            <a:lvl5pPr algn="l" defTabSz="914400" rtl="0" eaLnBrk="1" latinLnBrk="0" hangingPunct="1">
              <a:lnSpc>
                <a:spcPts val="2300"/>
              </a:lnSpc>
              <a:spcBef>
                <a:spcPct val="0"/>
              </a:spcBef>
              <a:buNone/>
              <a:defRPr lang="en-US" sz="2300" b="0" kern="1200" cap="all" baseline="0" dirty="0" smtClean="0">
                <a:solidFill>
                  <a:schemeClr val="accent6"/>
                </a:solidFill>
                <a:latin typeface="Arial" pitchFamily="34" charset="0"/>
                <a:ea typeface="+mj-ea"/>
                <a:cs typeface="Arial" pitchFamily="34" charset="0"/>
              </a:defRPr>
            </a:lvl5pPr>
          </a:lstStyle>
          <a:p>
            <a:pPr lvl="0"/>
            <a:r>
              <a:rPr lang="en-US" dirty="0"/>
              <a:t>Title in Uppercase (Arial 23 pt, Black)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5" y="2626206"/>
            <a:ext cx="8347075" cy="440163"/>
          </a:xfrm>
        </p:spPr>
        <p:txBody>
          <a:bodyPr vert="horz" lIns="0" tIns="0" rIns="0" bIns="0" rtlCol="0" anchor="ctr">
            <a:normAutofit/>
          </a:bodyPr>
          <a:lstStyle>
            <a:lvl1pPr marL="0" indent="0" algn="l" defTabSz="889000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lang="en-US" sz="1400" b="0" baseline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0" indent="0" algn="l" defTabSz="889000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lang="en-US" sz="1400" b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0" indent="0" algn="l" defTabSz="889000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lang="en-US" sz="1400" b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0" indent="0" algn="l" defTabSz="889000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lang="en-US" sz="1400" b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0" indent="0" algn="l" defTabSz="889000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lang="en-US" sz="1400" b="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Subtitle in Title Case (Arial 14 pt, Red)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365125" y="3493008"/>
            <a:ext cx="8347075" cy="274636"/>
          </a:xfrm>
        </p:spPr>
        <p:txBody>
          <a:bodyPr vert="horz" lIns="0" tIns="0" rIns="0" bIns="0" rtlCol="0" anchor="ctr"/>
          <a:lstStyle>
            <a:lvl1pPr algn="l" rtl="0" fontAlgn="base">
              <a:defRPr lang="en-US" sz="1200" b="0" kern="12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 (Arial 12 pt, gray)</a:t>
            </a:r>
          </a:p>
        </p:txBody>
      </p:sp>
    </p:spTree>
    <p:extLst>
      <p:ext uri="{BB962C8B-B14F-4D97-AF65-F5344CB8AC3E}">
        <p14:creationId xmlns:p14="http://schemas.microsoft.com/office/powerpoint/2010/main" val="71156239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24" y="472178"/>
            <a:ext cx="8329613" cy="52318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114835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982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44778"/>
            <a:ext cx="4140200" cy="847549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7" y="2722338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764" b="0">
                <a:solidFill>
                  <a:schemeClr val="bg1"/>
                </a:solidFill>
              </a:defRPr>
            </a:lvl1pPr>
            <a:lvl2pPr marL="249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4992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48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998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48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497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747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996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7" y="4056064"/>
            <a:ext cx="4140200" cy="760868"/>
          </a:xfrm>
        </p:spPr>
        <p:txBody>
          <a:bodyPr/>
          <a:lstStyle>
            <a:lvl1pPr marL="868" indent="0">
              <a:lnSpc>
                <a:spcPts val="929"/>
              </a:lnSpc>
              <a:spcBef>
                <a:spcPts val="0"/>
              </a:spcBef>
              <a:buNone/>
              <a:defRPr sz="656">
                <a:solidFill>
                  <a:schemeClr val="bg1"/>
                </a:solidFill>
              </a:defRPr>
            </a:lvl1pPr>
            <a:lvl2pPr marL="868" indent="0">
              <a:lnSpc>
                <a:spcPts val="929"/>
              </a:lnSpc>
              <a:spcBef>
                <a:spcPts val="0"/>
              </a:spcBef>
              <a:buFont typeface="Arial" panose="020B0604020202020204" pitchFamily="34" charset="0"/>
              <a:buNone/>
              <a:defRPr sz="656">
                <a:solidFill>
                  <a:schemeClr val="bg1"/>
                </a:solidFill>
              </a:defRPr>
            </a:lvl2pPr>
            <a:lvl3pPr marL="868" indent="0">
              <a:lnSpc>
                <a:spcPts val="929"/>
              </a:lnSpc>
              <a:spcBef>
                <a:spcPts val="0"/>
              </a:spcBef>
              <a:buNone/>
              <a:defRPr sz="656">
                <a:solidFill>
                  <a:schemeClr val="bg1"/>
                </a:solidFill>
              </a:defRPr>
            </a:lvl3pPr>
            <a:lvl4pPr marL="868" indent="0">
              <a:lnSpc>
                <a:spcPts val="929"/>
              </a:lnSpc>
              <a:spcBef>
                <a:spcPts val="0"/>
              </a:spcBef>
              <a:buNone/>
              <a:defRPr sz="656">
                <a:solidFill>
                  <a:schemeClr val="bg1"/>
                </a:solidFill>
              </a:defRPr>
            </a:lvl4pPr>
            <a:lvl5pPr marL="868" indent="0">
              <a:lnSpc>
                <a:spcPts val="929"/>
              </a:lnSpc>
              <a:spcBef>
                <a:spcPts val="0"/>
              </a:spcBef>
              <a:buNone/>
              <a:defRPr sz="656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6" y="3493011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56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3863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273">
                <a:solidFill>
                  <a:schemeClr val="bg1"/>
                </a:solidFill>
              </a:defRPr>
            </a:lvl1pPr>
          </a:lstStyle>
          <a:p>
            <a:pPr algn="r" defTabSz="453863"/>
            <a:r>
              <a:rPr lang="en-US">
                <a:solidFill>
                  <a:srgbClr val="FFFFFF"/>
                </a:solidFill>
              </a:rPr>
              <a:t>© Bill &amp; Melinda Gates Foundation      |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5483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7" y="1864707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1255"/>
              </a:lnSpc>
              <a:defRPr sz="1255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8" y="2626209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764" b="0">
                <a:solidFill>
                  <a:schemeClr val="accent4"/>
                </a:solidFill>
              </a:defRPr>
            </a:lvl1pPr>
            <a:lvl2pPr marL="249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4992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488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9984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480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497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747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9969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6" y="4059937"/>
            <a:ext cx="8329614" cy="760868"/>
          </a:xfrm>
        </p:spPr>
        <p:txBody>
          <a:bodyPr/>
          <a:lstStyle>
            <a:lvl1pPr marL="868" indent="0">
              <a:lnSpc>
                <a:spcPts val="929"/>
              </a:lnSpc>
              <a:spcBef>
                <a:spcPts val="0"/>
              </a:spcBef>
              <a:buNone/>
              <a:defRPr sz="656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868" indent="0">
              <a:lnSpc>
                <a:spcPts val="929"/>
              </a:lnSpc>
              <a:spcBef>
                <a:spcPts val="0"/>
              </a:spcBef>
              <a:buFont typeface="Arial" panose="020B0604020202020204" pitchFamily="34" charset="0"/>
              <a:buNone/>
              <a:defRPr sz="656">
                <a:solidFill>
                  <a:schemeClr val="bg1"/>
                </a:solidFill>
              </a:defRPr>
            </a:lvl2pPr>
            <a:lvl3pPr marL="868" indent="0">
              <a:lnSpc>
                <a:spcPts val="929"/>
              </a:lnSpc>
              <a:spcBef>
                <a:spcPts val="0"/>
              </a:spcBef>
              <a:buNone/>
              <a:defRPr sz="656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868" indent="0">
              <a:lnSpc>
                <a:spcPts val="929"/>
              </a:lnSpc>
              <a:spcBef>
                <a:spcPts val="0"/>
              </a:spcBef>
              <a:buNone/>
              <a:defRPr sz="656">
                <a:solidFill>
                  <a:schemeClr val="bg1"/>
                </a:solidFill>
              </a:defRPr>
            </a:lvl4pPr>
            <a:lvl5pPr marL="868" indent="0">
              <a:lnSpc>
                <a:spcPts val="929"/>
              </a:lnSpc>
              <a:spcBef>
                <a:spcPts val="0"/>
              </a:spcBef>
              <a:buNone/>
              <a:defRPr sz="656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8" y="3493011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56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453863"/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28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273"/>
            </a:lvl1pPr>
          </a:lstStyle>
          <a:p>
            <a:pPr algn="r" defTabSz="453863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1753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1856"/>
              </a:lnSpc>
              <a:spcBef>
                <a:spcPts val="656"/>
              </a:spcBef>
              <a:buNone/>
              <a:defRPr lang="en-US" sz="1638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1966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1966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1966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1966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3894197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8329614" cy="3389313"/>
          </a:xfrm>
        </p:spPr>
        <p:txBody>
          <a:bodyPr/>
          <a:lstStyle>
            <a:lvl1pPr>
              <a:spcBef>
                <a:spcPts val="328"/>
              </a:spcBef>
              <a:spcAft>
                <a:spcPts val="0"/>
              </a:spcAft>
              <a:defRPr sz="764" b="0" baseline="0"/>
            </a:lvl1pPr>
            <a:lvl2pPr marL="93607" indent="-93607">
              <a:spcBef>
                <a:spcPts val="32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710"/>
            </a:lvl2pPr>
            <a:lvl3pPr marL="187214" indent="-93607">
              <a:spcBef>
                <a:spcPts val="328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656" baseline="0"/>
            </a:lvl3pPr>
            <a:lvl4pPr marL="281688" indent="-94474">
              <a:spcBef>
                <a:spcPts val="32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375295" indent="-93607">
              <a:spcBef>
                <a:spcPts val="328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 defTabSz="453863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453863"/>
            <a:fld id="{D3F7C509-FEEF-45D3-B896-7C07814C0C13}" type="slidenum">
              <a:rPr lang="en-US" smtClean="0">
                <a:solidFill>
                  <a:srgbClr val="000000"/>
                </a:solidFill>
              </a:rPr>
              <a:pPr defTabSz="45386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484694"/>
            <a:ext cx="8329614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3437251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8" y="534708"/>
            <a:ext cx="5046662" cy="4151592"/>
          </a:xfrm>
        </p:spPr>
        <p:txBody>
          <a:bodyPr/>
          <a:lstStyle>
            <a:lvl1pPr>
              <a:spcBef>
                <a:spcPts val="600"/>
              </a:spcBef>
              <a:defRPr/>
            </a:lvl1pPr>
            <a:lvl2pPr>
              <a:spcBef>
                <a:spcPts val="600"/>
              </a:spcBef>
              <a:defRPr/>
            </a:lvl2pPr>
            <a:lvl3pPr>
              <a:spcBef>
                <a:spcPts val="600"/>
              </a:spcBef>
              <a:defRPr/>
            </a:lvl3pPr>
            <a:lvl4pPr>
              <a:spcBef>
                <a:spcPts val="600"/>
              </a:spcBef>
              <a:defRPr/>
            </a:lvl4pPr>
            <a:lvl5pPr>
              <a:spcBef>
                <a:spcPts val="600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0610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139722"/>
            <a:ext cx="8329614" cy="298660"/>
          </a:xfrm>
        </p:spPr>
        <p:txBody>
          <a:bodyPr/>
          <a:lstStyle>
            <a:lvl1pPr>
              <a:lnSpc>
                <a:spcPts val="874"/>
              </a:lnSpc>
              <a:spcBef>
                <a:spcPts val="0"/>
              </a:spcBef>
              <a:defRPr sz="764" b="1" baseline="0"/>
            </a:lvl1pPr>
            <a:lvl2pPr marL="93607" indent="-93607">
              <a:spcBef>
                <a:spcPts val="183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710"/>
            </a:lvl2pPr>
            <a:lvl3pPr marL="187214" indent="-93607">
              <a:spcBef>
                <a:spcPts val="183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281688" indent="-94474">
              <a:spcBef>
                <a:spcPts val="183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375295" indent="-93607">
              <a:spcBef>
                <a:spcPts val="183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 defTabSz="453863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453863"/>
            <a:fld id="{D3F7C509-FEEF-45D3-B896-7C07814C0C13}" type="slidenum">
              <a:rPr lang="en-US" smtClean="0">
                <a:solidFill>
                  <a:srgbClr val="000000"/>
                </a:solidFill>
              </a:rPr>
              <a:pPr defTabSz="45386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8" y="1528724"/>
            <a:ext cx="8347075" cy="3166203"/>
          </a:xfrm>
        </p:spPr>
        <p:txBody>
          <a:bodyPr/>
          <a:lstStyle>
            <a:lvl1pPr>
              <a:spcBef>
                <a:spcPts val="328"/>
              </a:spcBef>
              <a:defRPr sz="710"/>
            </a:lvl1pPr>
            <a:lvl2pPr>
              <a:spcBef>
                <a:spcPts val="328"/>
              </a:spcBef>
              <a:defRPr sz="710"/>
            </a:lvl2pPr>
            <a:lvl3pPr>
              <a:spcBef>
                <a:spcPts val="328"/>
              </a:spcBef>
              <a:defRPr sz="656"/>
            </a:lvl3pPr>
            <a:lvl4pPr>
              <a:spcBef>
                <a:spcPts val="328"/>
              </a:spcBef>
              <a:defRPr sz="601"/>
            </a:lvl4pPr>
            <a:lvl5pPr>
              <a:spcBef>
                <a:spcPts val="328"/>
              </a:spcBef>
              <a:defRPr sz="546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484694"/>
            <a:ext cx="8329614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1942224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 defTabSz="453863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453863"/>
            <a:fld id="{D3F7C509-FEEF-45D3-B896-7C07814C0C13}" type="slidenum">
              <a:rPr lang="en-US" smtClean="0">
                <a:solidFill>
                  <a:srgbClr val="000000"/>
                </a:solidFill>
              </a:rPr>
              <a:pPr defTabSz="45386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8" y="539496"/>
            <a:ext cx="5046662" cy="4151592"/>
          </a:xfrm>
        </p:spPr>
        <p:txBody>
          <a:bodyPr/>
          <a:lstStyle>
            <a:lvl1pPr>
              <a:spcBef>
                <a:spcPts val="328"/>
              </a:spcBef>
              <a:defRPr/>
            </a:lvl1pPr>
            <a:lvl2pPr>
              <a:spcBef>
                <a:spcPts val="328"/>
              </a:spcBef>
              <a:defRPr/>
            </a:lvl2pPr>
            <a:lvl3pPr>
              <a:spcBef>
                <a:spcPts val="328"/>
              </a:spcBef>
              <a:defRPr sz="656"/>
            </a:lvl3pPr>
            <a:lvl4pPr>
              <a:spcBef>
                <a:spcPts val="328"/>
              </a:spcBef>
              <a:defRPr/>
            </a:lvl4pPr>
            <a:lvl5pPr>
              <a:spcBef>
                <a:spcPts val="328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84309"/>
            <a:ext cx="3170238" cy="646646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2907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 defTabSz="453863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453863"/>
            <a:fld id="{D3F7C509-FEEF-45D3-B896-7C07814C0C13}" type="slidenum">
              <a:rPr lang="en-US" smtClean="0">
                <a:solidFill>
                  <a:srgbClr val="000000"/>
                </a:solidFill>
              </a:rPr>
              <a:pPr defTabSz="45386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6" y="871711"/>
            <a:ext cx="8329614" cy="450099"/>
          </a:xfrm>
        </p:spPr>
        <p:txBody>
          <a:bodyPr/>
          <a:lstStyle>
            <a:lvl1pPr marL="0" indent="0">
              <a:buNone/>
              <a:defRPr sz="683" baseline="0"/>
            </a:lvl1pPr>
            <a:lvl2pPr marL="0" indent="0">
              <a:buFont typeface="Arial" panose="020B0604020202020204" pitchFamily="34" charset="0"/>
              <a:buNone/>
              <a:defRPr sz="683"/>
            </a:lvl2pPr>
            <a:lvl3pPr marL="0" indent="0">
              <a:buNone/>
              <a:defRPr sz="683"/>
            </a:lvl3pPr>
            <a:lvl4pPr marL="0" indent="0">
              <a:buNone/>
              <a:defRPr sz="683"/>
            </a:lvl4pPr>
            <a:lvl5pPr marL="0" indent="0">
              <a:buNone/>
              <a:defRPr sz="683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5" y="1462090"/>
            <a:ext cx="8329614" cy="3216275"/>
          </a:xfrm>
        </p:spPr>
        <p:txBody>
          <a:bodyPr tIns="1097280"/>
          <a:lstStyle>
            <a:lvl1pPr marL="0" indent="0" algn="ctr">
              <a:buNone/>
              <a:defRPr sz="656" baseline="0"/>
            </a:lvl1pPr>
            <a:lvl2pPr marL="0" indent="0">
              <a:buFont typeface="Arial" panose="020B0604020202020204" pitchFamily="34" charset="0"/>
              <a:buNone/>
              <a:defRPr sz="656"/>
            </a:lvl2pPr>
            <a:lvl3pPr marL="0" indent="0">
              <a:buNone/>
              <a:defRPr sz="656"/>
            </a:lvl3pPr>
            <a:lvl4pPr marL="0" indent="0">
              <a:buNone/>
              <a:defRPr sz="656"/>
            </a:lvl4pPr>
            <a:lvl5pPr marL="0" indent="0">
              <a:buNone/>
              <a:defRPr sz="656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33"/>
            <a:ext cx="8329614" cy="38193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</p:spTree>
    <p:extLst>
      <p:ext uri="{BB962C8B-B14F-4D97-AF65-F5344CB8AC3E}">
        <p14:creationId xmlns:p14="http://schemas.microsoft.com/office/powerpoint/2010/main" val="2818090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4" y="1289051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1"/>
            <a:ext cx="3170238" cy="3389313"/>
          </a:xfrm>
        </p:spPr>
        <p:txBody>
          <a:bodyPr/>
          <a:lstStyle>
            <a:lvl1pPr>
              <a:spcBef>
                <a:spcPts val="328"/>
              </a:spcBef>
              <a:spcAft>
                <a:spcPts val="0"/>
              </a:spcAft>
              <a:defRPr sz="764" b="0"/>
            </a:lvl1pPr>
            <a:lvl2pPr>
              <a:spcBef>
                <a:spcPts val="328"/>
              </a:spcBef>
              <a:spcAft>
                <a:spcPts val="0"/>
              </a:spcAft>
              <a:defRPr sz="710" baseline="0"/>
            </a:lvl2pPr>
            <a:lvl3pPr>
              <a:spcBef>
                <a:spcPts val="328"/>
              </a:spcBef>
              <a:spcAft>
                <a:spcPts val="0"/>
              </a:spcAft>
              <a:buClr>
                <a:srgbClr val="3086AB"/>
              </a:buClr>
              <a:defRPr sz="656"/>
            </a:lvl3pPr>
            <a:lvl4pPr marL="281687" indent="-93607">
              <a:spcBef>
                <a:spcPts val="328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328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 defTabSz="453863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453863"/>
            <a:fld id="{D3F7C509-FEEF-45D3-B896-7C07814C0C13}" type="slidenum">
              <a:rPr lang="en-US" smtClean="0">
                <a:solidFill>
                  <a:srgbClr val="000000"/>
                </a:solidFill>
              </a:rPr>
              <a:pPr defTabSz="45386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5" y="484694"/>
            <a:ext cx="8329614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3611991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2"/>
            <a:ext cx="3170238" cy="3389314"/>
          </a:xfrm>
        </p:spPr>
        <p:txBody>
          <a:bodyPr/>
          <a:lstStyle>
            <a:lvl1pPr>
              <a:spcBef>
                <a:spcPts val="328"/>
              </a:spcBef>
              <a:spcAft>
                <a:spcPts val="0"/>
              </a:spcAft>
              <a:buClr>
                <a:srgbClr val="2F85AA"/>
              </a:buClr>
              <a:defRPr sz="764" b="0" baseline="0"/>
            </a:lvl1pPr>
            <a:lvl2pPr>
              <a:spcBef>
                <a:spcPts val="328"/>
              </a:spcBef>
              <a:spcAft>
                <a:spcPts val="0"/>
              </a:spcAft>
              <a:defRPr sz="710" baseline="0"/>
            </a:lvl2pPr>
            <a:lvl3pPr>
              <a:spcBef>
                <a:spcPts val="328"/>
              </a:spcBef>
              <a:spcAft>
                <a:spcPts val="0"/>
              </a:spcAft>
              <a:buClr>
                <a:srgbClr val="3086AB"/>
              </a:buClr>
              <a:defRPr sz="656" baseline="0"/>
            </a:lvl3pPr>
            <a:lvl4pPr marL="281687" indent="-93607">
              <a:spcBef>
                <a:spcPts val="328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374427" indent="-93607">
              <a:spcBef>
                <a:spcPts val="328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38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8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 defTabSz="453863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defTabSz="453863"/>
            <a:fld id="{D3F7C509-FEEF-45D3-B896-7C07814C0C13}" type="slidenum">
              <a:rPr lang="en-US" smtClean="0">
                <a:solidFill>
                  <a:srgbClr val="000000"/>
                </a:solidFill>
              </a:rPr>
              <a:pPr defTabSz="45386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65125" y="484693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4" y="488952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</p:spTree>
    <p:extLst>
      <p:ext uri="{BB962C8B-B14F-4D97-AF65-F5344CB8AC3E}">
        <p14:creationId xmlns:p14="http://schemas.microsoft.com/office/powerpoint/2010/main" val="2104962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2"/>
            <a:ext cx="3170238" cy="3389314"/>
          </a:xfrm>
        </p:spPr>
        <p:txBody>
          <a:bodyPr/>
          <a:lstStyle>
            <a:lvl1pPr>
              <a:spcBef>
                <a:spcPts val="328"/>
              </a:spcBef>
              <a:spcAft>
                <a:spcPts val="0"/>
              </a:spcAft>
              <a:buClr>
                <a:srgbClr val="2F85AA"/>
              </a:buClr>
              <a:defRPr sz="764" b="0" baseline="0"/>
            </a:lvl1pPr>
            <a:lvl2pPr>
              <a:spcBef>
                <a:spcPts val="328"/>
              </a:spcBef>
              <a:spcAft>
                <a:spcPts val="0"/>
              </a:spcAft>
              <a:defRPr sz="710" baseline="0"/>
            </a:lvl2pPr>
            <a:lvl3pPr>
              <a:spcBef>
                <a:spcPts val="328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281687" indent="-93607">
              <a:spcBef>
                <a:spcPts val="328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374427" indent="-93607">
              <a:spcBef>
                <a:spcPts val="328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5" y="0"/>
            <a:ext cx="5487987" cy="5143500"/>
          </a:xfrm>
        </p:spPr>
        <p:txBody>
          <a:bodyPr tIns="822960"/>
          <a:lstStyle>
            <a:lvl1pPr marL="0" indent="0" algn="ctr">
              <a:buNone/>
              <a:defRPr baseline="0"/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Click on the icon to insert a new photo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38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8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5" y="484693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</p:spTree>
    <p:extLst>
      <p:ext uri="{BB962C8B-B14F-4D97-AF65-F5344CB8AC3E}">
        <p14:creationId xmlns:p14="http://schemas.microsoft.com/office/powerpoint/2010/main" val="1168611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9144000" cy="5143500"/>
          </a:xfrm>
        </p:spPr>
        <p:txBody>
          <a:bodyPr lIns="182880" tIns="1828800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</p:spTree>
    <p:extLst>
      <p:ext uri="{BB962C8B-B14F-4D97-AF65-F5344CB8AC3E}">
        <p14:creationId xmlns:p14="http://schemas.microsoft.com/office/powerpoint/2010/main" val="3133525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7"/>
          <p:cNvSpPr>
            <a:spLocks noChangeArrowheads="1"/>
          </p:cNvSpPr>
          <p:nvPr/>
        </p:nvSpPr>
        <p:spPr bwMode="auto">
          <a:xfrm>
            <a:off x="1266536" y="258393"/>
            <a:ext cx="184731" cy="2654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endParaRPr lang="en-US" altLang="en-US" sz="1125"/>
          </a:p>
        </p:txBody>
      </p:sp>
      <p:pic>
        <p:nvPicPr>
          <p:cNvPr id="5" name="Picture 7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00" y="4312446"/>
            <a:ext cx="1752600" cy="773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AutoShape 75"/>
          <p:cNvSpPr>
            <a:spLocks noChangeArrowheads="1"/>
          </p:cNvSpPr>
          <p:nvPr/>
        </p:nvSpPr>
        <p:spPr bwMode="auto">
          <a:xfrm>
            <a:off x="0" y="1600202"/>
            <a:ext cx="838200" cy="108347"/>
          </a:xfrm>
          <a:prstGeom prst="roundRect">
            <a:avLst>
              <a:gd name="adj" fmla="val 0"/>
            </a:avLst>
          </a:prstGeom>
          <a:solidFill>
            <a:srgbClr val="F0027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endParaRPr lang="en-US" altLang="en-US" sz="1125"/>
          </a:p>
        </p:txBody>
      </p:sp>
      <p:sp>
        <p:nvSpPr>
          <p:cNvPr id="7" name="AutoShape 76"/>
          <p:cNvSpPr>
            <a:spLocks noChangeArrowheads="1"/>
          </p:cNvSpPr>
          <p:nvPr/>
        </p:nvSpPr>
        <p:spPr bwMode="auto">
          <a:xfrm>
            <a:off x="1930401" y="1601391"/>
            <a:ext cx="6604000" cy="108347"/>
          </a:xfrm>
          <a:prstGeom prst="roundRect">
            <a:avLst>
              <a:gd name="adj" fmla="val 50000"/>
            </a:avLst>
          </a:prstGeom>
          <a:solidFill>
            <a:srgbClr val="C2D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endParaRPr lang="en-US" altLang="en-US" sz="1125"/>
          </a:p>
        </p:txBody>
      </p:sp>
      <p:sp>
        <p:nvSpPr>
          <p:cNvPr id="8" name="AutoShape 77"/>
          <p:cNvSpPr>
            <a:spLocks noChangeArrowheads="1"/>
          </p:cNvSpPr>
          <p:nvPr/>
        </p:nvSpPr>
        <p:spPr bwMode="auto">
          <a:xfrm>
            <a:off x="685800" y="1600200"/>
            <a:ext cx="2362200" cy="109538"/>
          </a:xfrm>
          <a:prstGeom prst="roundRect">
            <a:avLst>
              <a:gd name="adj" fmla="val 50000"/>
            </a:avLst>
          </a:prstGeom>
          <a:solidFill>
            <a:srgbClr val="13007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/>
            <a:endParaRPr lang="en-US" altLang="en-US" sz="450"/>
          </a:p>
        </p:txBody>
      </p:sp>
      <p:pic>
        <p:nvPicPr>
          <p:cNvPr id="9" name="Picture 1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4001" y="4699397"/>
            <a:ext cx="4826000" cy="233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 bwMode="black">
          <a:xfrm>
            <a:off x="719140" y="571500"/>
            <a:ext cx="7737475" cy="904875"/>
          </a:xfrm>
        </p:spPr>
        <p:txBody>
          <a:bodyPr wrap="square" anchor="b"/>
          <a:lstStyle>
            <a:lvl1pPr>
              <a:lnSpc>
                <a:spcPts val="2700"/>
              </a:lnSpc>
              <a:defRPr sz="1575" b="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19138" y="1809750"/>
            <a:ext cx="5105400" cy="8001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48224018"/>
      </p:ext>
    </p:extLst>
  </p:cSld>
  <p:clrMapOvr>
    <a:masterClrMapping/>
  </p:clrMapOvr>
  <p:transition>
    <p:split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9213436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9144000" cy="5143500"/>
          </a:xfrm>
        </p:spPr>
        <p:txBody>
          <a:bodyPr lIns="4754880" tIns="1920240" rtlCol="0">
            <a:normAutofit/>
          </a:bodyPr>
          <a:lstStyle>
            <a:lvl1pPr marL="0" indent="0">
              <a:buNone/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126" y="1844777"/>
            <a:ext cx="4140200" cy="847549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126" y="2722336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050" b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65126" y="4056063"/>
            <a:ext cx="4140200" cy="760868"/>
          </a:xfrm>
        </p:spPr>
        <p:txBody>
          <a:bodyPr/>
          <a:lstStyle>
            <a:lvl1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  <a:lvl2pPr marL="1191" indent="0">
              <a:lnSpc>
                <a:spcPts val="1275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2pPr>
            <a:lvl3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3pPr>
            <a:lvl4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4pPr>
            <a:lvl5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5"/>
          </p:nvPr>
        </p:nvSpPr>
        <p:spPr>
          <a:xfrm>
            <a:off x="365125" y="3493294"/>
            <a:ext cx="4140200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5816600" y="4895851"/>
            <a:ext cx="2895600" cy="155972"/>
          </a:xfr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 sz="375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/>
              <a:t>© 2014 Bill &amp; Melinda Gates Foundation</a:t>
            </a:r>
          </a:p>
        </p:txBody>
      </p:sp>
    </p:spTree>
    <p:extLst>
      <p:ext uri="{BB962C8B-B14F-4D97-AF65-F5344CB8AC3E}">
        <p14:creationId xmlns:p14="http://schemas.microsoft.com/office/powerpoint/2010/main" val="4111522886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365125" y="871710"/>
            <a:ext cx="8329613" cy="450099"/>
          </a:xfrm>
        </p:spPr>
        <p:txBody>
          <a:bodyPr/>
          <a:lstStyle>
            <a:lvl1pPr marL="0" indent="0">
              <a:buNone/>
              <a:defRPr sz="1250" baseline="0"/>
            </a:lvl1pPr>
            <a:lvl2pPr marL="0" indent="0">
              <a:buFont typeface="Arial" panose="020B0604020202020204" pitchFamily="34" charset="0"/>
              <a:buNone/>
              <a:defRPr sz="1250"/>
            </a:lvl2pPr>
            <a:lvl3pPr marL="0" indent="0">
              <a:buNone/>
              <a:defRPr sz="1250"/>
            </a:lvl3pPr>
            <a:lvl4pPr marL="0" indent="0">
              <a:buNone/>
              <a:defRPr sz="1250"/>
            </a:lvl4pPr>
            <a:lvl5pPr marL="0" indent="0">
              <a:buNone/>
              <a:defRPr sz="1250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365124" y="1462088"/>
            <a:ext cx="8329613" cy="3216275"/>
          </a:xfrm>
        </p:spPr>
        <p:txBody>
          <a:bodyPr tIns="1097280"/>
          <a:lstStyle>
            <a:lvl1pPr marL="0" indent="0" algn="ctr">
              <a:buNone/>
              <a:defRPr sz="1200" baseline="0"/>
            </a:lvl1pPr>
            <a:lvl2pPr marL="0" indent="0">
              <a:buFont typeface="Arial" panose="020B0604020202020204" pitchFamily="34" charset="0"/>
              <a:buNone/>
              <a:defRPr sz="1200"/>
            </a:lvl2pPr>
            <a:lvl3pPr marL="0" indent="0">
              <a:buNone/>
              <a:defRPr sz="1200"/>
            </a:lvl3pPr>
            <a:lvl4pPr marL="0" indent="0">
              <a:buNone/>
              <a:defRPr sz="1200"/>
            </a:lvl4pPr>
            <a:lvl5pPr marL="0" indent="0">
              <a:buNone/>
              <a:defRPr sz="1200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38193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</p:spTree>
    <p:extLst>
      <p:ext uri="{BB962C8B-B14F-4D97-AF65-F5344CB8AC3E}">
        <p14:creationId xmlns:p14="http://schemas.microsoft.com/office/powerpoint/2010/main" val="1621670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365126" y="3220641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5964" y="0"/>
            <a:ext cx="1646237" cy="164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126" y="1864705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1725"/>
              </a:lnSpc>
              <a:defRPr sz="1725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127" y="2626208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050" b="0">
                <a:solidFill>
                  <a:schemeClr val="accent4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65127" y="4059937"/>
            <a:ext cx="8329613" cy="760868"/>
          </a:xfrm>
        </p:spPr>
        <p:txBody>
          <a:bodyPr/>
          <a:lstStyle>
            <a:lvl1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191" indent="0">
              <a:lnSpc>
                <a:spcPts val="1275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2pPr>
            <a:lvl3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4pPr>
            <a:lvl5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5"/>
          </p:nvPr>
        </p:nvSpPr>
        <p:spPr>
          <a:xfrm>
            <a:off x="365126" y="3493294"/>
            <a:ext cx="8347075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rgbClr val="000000">
                    <a:lumMod val="50000"/>
                    <a:lumOff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5816600" y="4895851"/>
            <a:ext cx="2895600" cy="155972"/>
          </a:xfrm>
        </p:spPr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 sz="375"/>
            </a:lvl1pPr>
          </a:lstStyle>
          <a:p>
            <a:pPr>
              <a:defRPr/>
            </a:pPr>
            <a:r>
              <a:rPr lang="en-US"/>
              <a:t>© 2014 Bill &amp; Melinda Gates Foundation</a:t>
            </a:r>
          </a:p>
        </p:txBody>
      </p:sp>
    </p:spTree>
    <p:extLst>
      <p:ext uri="{BB962C8B-B14F-4D97-AF65-F5344CB8AC3E}">
        <p14:creationId xmlns:p14="http://schemas.microsoft.com/office/powerpoint/2010/main" val="1753908605"/>
      </p:ext>
    </p:extLst>
  </p:cSld>
  <p:clrMapOvr>
    <a:masterClrMapping/>
  </p:clrMapOvr>
  <p:transition spd="med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2550"/>
              </a:lnSpc>
              <a:spcBef>
                <a:spcPts val="900"/>
              </a:spcBef>
              <a:buNone/>
              <a:defRPr lang="en-US" sz="225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27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27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27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27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40321612"/>
      </p:ext>
    </p:extLst>
  </p:cSld>
  <p:clrMapOvr>
    <a:masterClrMapping/>
  </p:clrMapOvr>
  <p:transition spd="med">
    <p:fade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5126" y="1289051"/>
            <a:ext cx="8329613" cy="3389313"/>
          </a:xfrm>
        </p:spPr>
        <p:txBody>
          <a:bodyPr/>
          <a:lstStyle>
            <a:lvl1pPr>
              <a:spcBef>
                <a:spcPts val="450"/>
              </a:spcBef>
              <a:spcAft>
                <a:spcPts val="0"/>
              </a:spcAft>
              <a:defRPr sz="1050" b="0" baseline="0"/>
            </a:lvl1pPr>
            <a:lvl2pPr marL="128588" indent="-128588">
              <a:spcBef>
                <a:spcPts val="45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975"/>
            </a:lvl2pPr>
            <a:lvl3pPr marL="257175" indent="-128588">
              <a:spcBef>
                <a:spcPts val="45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386954" indent="-129779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515541" indent="-128588">
              <a:spcBef>
                <a:spcPts val="45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26" y="484633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/>
              <a:t>© Bill &amp; Melinda Gates Foundation      |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8F75B5E1-0644-443A-9982-100F751CFFE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0252501"/>
      </p:ext>
    </p:extLst>
  </p:cSld>
  <p:clrMapOvr>
    <a:masterClrMapping/>
  </p:clrMapOvr>
  <p:transition spd="med"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5126" y="1139721"/>
            <a:ext cx="8329613" cy="29866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050" b="1" baseline="0"/>
            </a:lvl1pPr>
            <a:lvl2pPr marL="128588" indent="-128588">
              <a:spcBef>
                <a:spcPts val="252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975"/>
            </a:lvl2pPr>
            <a:lvl3pPr marL="257175" indent="-128588">
              <a:spcBef>
                <a:spcPts val="252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386954" indent="-129779">
              <a:spcBef>
                <a:spcPts val="252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515541" indent="-128588">
              <a:spcBef>
                <a:spcPts val="252"/>
              </a:spcBef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7" y="1528724"/>
            <a:ext cx="8347075" cy="3166203"/>
          </a:xfrm>
        </p:spPr>
        <p:txBody>
          <a:bodyPr/>
          <a:lstStyle>
            <a:lvl1pPr>
              <a:spcBef>
                <a:spcPts val="450"/>
              </a:spcBef>
              <a:defRPr sz="975"/>
            </a:lvl1pPr>
            <a:lvl2pPr>
              <a:spcBef>
                <a:spcPts val="450"/>
              </a:spcBef>
              <a:defRPr sz="975"/>
            </a:lvl2pPr>
            <a:lvl3pPr>
              <a:spcBef>
                <a:spcPts val="450"/>
              </a:spcBef>
              <a:defRPr sz="900"/>
            </a:lvl3pPr>
            <a:lvl4pPr>
              <a:spcBef>
                <a:spcPts val="450"/>
              </a:spcBef>
              <a:defRPr sz="825"/>
            </a:lvl4pPr>
            <a:lvl5pPr>
              <a:spcBef>
                <a:spcPts val="450"/>
              </a:spcBef>
              <a:defRPr sz="7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26" y="484633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/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6FD05672-8CF7-43E7-9AC8-1A612B2497E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6634117"/>
      </p:ext>
    </p:extLst>
  </p:cSld>
  <p:clrMapOvr>
    <a:masterClrMapping/>
  </p:clrMapOvr>
  <p:transition spd="med"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65538" y="534708"/>
            <a:ext cx="5046662" cy="4151592"/>
          </a:xfrm>
        </p:spPr>
        <p:txBody>
          <a:bodyPr/>
          <a:lstStyle>
            <a:lvl1pPr>
              <a:spcBef>
                <a:spcPts val="450"/>
              </a:spcBef>
              <a:defRPr/>
            </a:lvl1pPr>
            <a:lvl2pPr>
              <a:spcBef>
                <a:spcPts val="450"/>
              </a:spcBef>
              <a:defRPr/>
            </a:lvl2pPr>
            <a:lvl3pPr>
              <a:spcBef>
                <a:spcPts val="450"/>
              </a:spcBef>
              <a:defRPr/>
            </a:lvl3pPr>
            <a:lvl4pPr>
              <a:spcBef>
                <a:spcPts val="450"/>
              </a:spcBef>
              <a:defRPr/>
            </a:lvl4pPr>
            <a:lvl5pPr>
              <a:spcBef>
                <a:spcPts val="450"/>
              </a:spcBef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5125" y="484633"/>
            <a:ext cx="3170238" cy="646646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/>
              <a:t>© Bill &amp; Melinda Gates Foundation      |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57873521-C82D-416A-BB4C-E15D2ECEFF5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911699"/>
      </p:ext>
    </p:extLst>
  </p:cSld>
  <p:clrMapOvr>
    <a:masterClrMapping/>
  </p:clrMapOvr>
  <p:transition spd="med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365127" y="871711"/>
            <a:ext cx="8329613" cy="450099"/>
          </a:xfrm>
        </p:spPr>
        <p:txBody>
          <a:bodyPr/>
          <a:lstStyle>
            <a:lvl1pPr marL="0" indent="0">
              <a:buNone/>
              <a:defRPr sz="938" baseline="0"/>
            </a:lvl1pPr>
            <a:lvl2pPr marL="0" indent="0">
              <a:buFont typeface="Arial" panose="020B0604020202020204" pitchFamily="34" charset="0"/>
              <a:buNone/>
              <a:defRPr sz="938"/>
            </a:lvl2pPr>
            <a:lvl3pPr marL="0" indent="0">
              <a:buNone/>
              <a:defRPr sz="938"/>
            </a:lvl3pPr>
            <a:lvl4pPr marL="0" indent="0">
              <a:buNone/>
              <a:defRPr sz="938"/>
            </a:lvl4pPr>
            <a:lvl5pPr marL="0" indent="0">
              <a:buNone/>
              <a:defRPr sz="938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/>
          </p:nvPr>
        </p:nvSpPr>
        <p:spPr>
          <a:xfrm>
            <a:off x="365126" y="1462089"/>
            <a:ext cx="8329613" cy="3216275"/>
          </a:xfrm>
        </p:spPr>
        <p:txBody>
          <a:bodyPr tIns="1097280"/>
          <a:lstStyle>
            <a:lvl1pPr marL="0" indent="0" algn="ctr">
              <a:buNone/>
              <a:defRPr sz="900" baseline="0"/>
            </a:lvl1pPr>
            <a:lvl2pPr marL="0" indent="0">
              <a:buFont typeface="Arial" panose="020B0604020202020204" pitchFamily="34" charset="0"/>
              <a:buNone/>
              <a:defRPr sz="900"/>
            </a:lvl2pPr>
            <a:lvl3pPr marL="0" indent="0">
              <a:buNone/>
              <a:defRPr sz="900"/>
            </a:lvl3pPr>
            <a:lvl4pPr marL="0" indent="0">
              <a:buNone/>
              <a:defRPr sz="900"/>
            </a:lvl4pPr>
            <a:lvl5pPr marL="0" indent="0">
              <a:buNone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65126" y="484632"/>
            <a:ext cx="8329613" cy="38193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/>
              <a:t>© Bill &amp; Melinda Gates Foundation      |</a:t>
            </a:r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77A9FA0A-1DD0-4B06-A73C-1F069A87470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2056195"/>
      </p:ext>
    </p:extLst>
  </p:cSld>
  <p:clrMapOvr>
    <a:masterClrMapping/>
  </p:clrMapOvr>
  <p:transition spd="med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56013" y="1289051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5125" y="1289051"/>
            <a:ext cx="3170238" cy="3389313"/>
          </a:xfrm>
        </p:spPr>
        <p:txBody>
          <a:bodyPr/>
          <a:lstStyle>
            <a:lvl1pPr>
              <a:spcBef>
                <a:spcPts val="450"/>
              </a:spcBef>
              <a:spcAft>
                <a:spcPts val="0"/>
              </a:spcAft>
              <a:defRPr sz="1050" b="0"/>
            </a:lvl1pPr>
            <a:lvl2pPr>
              <a:spcBef>
                <a:spcPts val="450"/>
              </a:spcBef>
              <a:spcAft>
                <a:spcPts val="0"/>
              </a:spcAft>
              <a:defRPr sz="975" baseline="0"/>
            </a:lvl2pPr>
            <a:lvl3pPr>
              <a:spcBef>
                <a:spcPts val="450"/>
              </a:spcBef>
              <a:spcAft>
                <a:spcPts val="0"/>
              </a:spcAft>
              <a:buClr>
                <a:srgbClr val="3086AB"/>
              </a:buClr>
              <a:defRPr sz="900"/>
            </a:lvl3pPr>
            <a:lvl4pPr marL="386953" indent="-128588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45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26" y="484633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/>
              <a:t>© Bill &amp; Melinda Gates Foundation      |</a:t>
            </a:r>
          </a:p>
        </p:txBody>
      </p:sp>
      <p:sp>
        <p:nvSpPr>
          <p:cNvPr id="6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D88129FD-E8BA-43B6-AE12-3A289AF9B80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1696558"/>
      </p:ext>
    </p:extLst>
  </p:cSld>
  <p:clrMapOvr>
    <a:masterClrMapping/>
  </p:clrMapOvr>
  <p:transition spd="med">
    <p:fade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1" y="502444"/>
            <a:ext cx="201613" cy="20121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5125" y="1289051"/>
            <a:ext cx="3170238" cy="3389314"/>
          </a:xfrm>
        </p:spPr>
        <p:txBody>
          <a:bodyPr/>
          <a:lstStyle>
            <a:lvl1pPr>
              <a:spcBef>
                <a:spcPts val="450"/>
              </a:spcBef>
              <a:spcAft>
                <a:spcPts val="0"/>
              </a:spcAft>
              <a:buClr>
                <a:srgbClr val="2F85AA"/>
              </a:buClr>
              <a:defRPr sz="1050" b="0" baseline="0"/>
            </a:lvl1pPr>
            <a:lvl2pPr>
              <a:spcBef>
                <a:spcPts val="450"/>
              </a:spcBef>
              <a:spcAft>
                <a:spcPts val="0"/>
              </a:spcAft>
              <a:defRPr sz="975" baseline="0"/>
            </a:lvl2pPr>
            <a:lvl3pPr>
              <a:spcBef>
                <a:spcPts val="45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386953" indent="-128588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514350" indent="-128588">
              <a:spcBef>
                <a:spcPts val="450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65125" y="484633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656013" y="488951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/>
              <a:t>© Bill &amp; Melinda Gates Foundation      |</a:t>
            </a:r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3EB13481-6469-4DC1-A92A-11B27590CBC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9281773"/>
      </p:ext>
    </p:extLst>
  </p:cSld>
  <p:clrMapOvr>
    <a:masterClrMapping/>
  </p:clrMapOvr>
  <p:transition spd="med"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" y="502444"/>
            <a:ext cx="201613" cy="20121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5125" y="1289051"/>
            <a:ext cx="3170238" cy="3389314"/>
          </a:xfrm>
        </p:spPr>
        <p:txBody>
          <a:bodyPr/>
          <a:lstStyle>
            <a:lvl1pPr>
              <a:spcBef>
                <a:spcPts val="450"/>
              </a:spcBef>
              <a:spcAft>
                <a:spcPts val="0"/>
              </a:spcAft>
              <a:buClr>
                <a:srgbClr val="2F85AA"/>
              </a:buClr>
              <a:defRPr sz="1050" b="0" baseline="0"/>
            </a:lvl1pPr>
            <a:lvl2pPr>
              <a:spcBef>
                <a:spcPts val="450"/>
              </a:spcBef>
              <a:spcAft>
                <a:spcPts val="0"/>
              </a:spcAft>
              <a:defRPr sz="975" baseline="0"/>
            </a:lvl2pPr>
            <a:lvl3pPr>
              <a:spcBef>
                <a:spcPts val="45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386953" indent="-128588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514350" indent="-128588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56015" y="0"/>
            <a:ext cx="5487987" cy="5143500"/>
          </a:xfrm>
        </p:spPr>
        <p:txBody>
          <a:bodyPr tIns="822960" rtlCol="0">
            <a:noAutofit/>
          </a:bodyPr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65125" y="484633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54466640"/>
      </p:ext>
    </p:extLst>
  </p:cSld>
  <p:clrMapOvr>
    <a:masterClrMapping/>
  </p:clrMapOvr>
  <p:transition spd="med">
    <p:fade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3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" y="502444"/>
            <a:ext cx="201613" cy="20121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3665539" y="2635250"/>
            <a:ext cx="1825832" cy="2508250"/>
          </a:xfrm>
        </p:spPr>
        <p:txBody>
          <a:bodyPr tIns="822960" rtlCol="0">
            <a:noAutofit/>
          </a:bodyPr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5558829" y="2635250"/>
            <a:ext cx="3585172" cy="2508250"/>
          </a:xfrm>
        </p:spPr>
        <p:txBody>
          <a:bodyPr tIns="822960" rtlCol="0">
            <a:noAutofit/>
          </a:bodyPr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5125" y="1289051"/>
            <a:ext cx="3170238" cy="3389314"/>
          </a:xfrm>
        </p:spPr>
        <p:txBody>
          <a:bodyPr/>
          <a:lstStyle>
            <a:lvl1pPr>
              <a:spcBef>
                <a:spcPts val="450"/>
              </a:spcBef>
              <a:spcAft>
                <a:spcPts val="0"/>
              </a:spcAft>
              <a:buClr>
                <a:srgbClr val="2F85AA"/>
              </a:buClr>
              <a:defRPr sz="1050" b="0" baseline="0"/>
            </a:lvl1pPr>
            <a:lvl2pPr>
              <a:spcBef>
                <a:spcPts val="450"/>
              </a:spcBef>
              <a:spcAft>
                <a:spcPts val="0"/>
              </a:spcAft>
              <a:defRPr sz="975" baseline="0"/>
            </a:lvl2pPr>
            <a:lvl3pPr>
              <a:spcBef>
                <a:spcPts val="45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386953" indent="-128588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514350" indent="-128588">
              <a:spcBef>
                <a:spcPts val="450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665538" y="0"/>
            <a:ext cx="5478462" cy="2542032"/>
          </a:xfrm>
        </p:spPr>
        <p:txBody>
          <a:bodyPr tIns="822960" rtlCol="0">
            <a:noAutofit/>
          </a:bodyPr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65125" y="484633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97977987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1289050"/>
            <a:ext cx="5038726" cy="3389313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3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defRPr sz="1400" b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sz="120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4" y="484632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1808429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4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" y="502444"/>
            <a:ext cx="201613" cy="20121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7325140" y="0"/>
            <a:ext cx="1818861" cy="2542032"/>
          </a:xfrm>
        </p:spPr>
        <p:txBody>
          <a:bodyPr tIns="822960" rtlCol="0">
            <a:noAutofit/>
          </a:bodyPr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3665540" y="0"/>
            <a:ext cx="3599965" cy="2542032"/>
          </a:xfrm>
        </p:spPr>
        <p:txBody>
          <a:bodyPr tIns="822960" rtlCol="0">
            <a:noAutofit/>
          </a:bodyPr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3665539" y="2601468"/>
            <a:ext cx="1825832" cy="2542032"/>
          </a:xfrm>
        </p:spPr>
        <p:txBody>
          <a:bodyPr tIns="822960" rtlCol="0">
            <a:noAutofit/>
          </a:bodyPr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5560945" y="2601468"/>
            <a:ext cx="3583057" cy="2542032"/>
          </a:xfrm>
        </p:spPr>
        <p:txBody>
          <a:bodyPr tIns="822960" rtlCol="0">
            <a:noAutofit/>
          </a:bodyPr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5125" y="1289051"/>
            <a:ext cx="3170238" cy="3389314"/>
          </a:xfrm>
        </p:spPr>
        <p:txBody>
          <a:bodyPr/>
          <a:lstStyle>
            <a:lvl1pPr>
              <a:spcBef>
                <a:spcPts val="450"/>
              </a:spcBef>
              <a:spcAft>
                <a:spcPts val="0"/>
              </a:spcAft>
              <a:buClr>
                <a:srgbClr val="2F85AA"/>
              </a:buClr>
              <a:defRPr sz="1050" b="0" baseline="0"/>
            </a:lvl1pPr>
            <a:lvl2pPr>
              <a:spcBef>
                <a:spcPts val="450"/>
              </a:spcBef>
              <a:spcAft>
                <a:spcPts val="0"/>
              </a:spcAft>
              <a:defRPr sz="975" baseline="0"/>
            </a:lvl2pPr>
            <a:lvl3pPr>
              <a:spcBef>
                <a:spcPts val="45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386953" indent="-128588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514350" indent="-128588">
              <a:spcBef>
                <a:spcPts val="450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65125" y="484633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06151795"/>
      </p:ext>
    </p:extLst>
  </p:cSld>
  <p:clrMapOvr>
    <a:masterClrMapping/>
  </p:clrMapOvr>
  <p:transition spd="med">
    <p:fade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5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" y="502444"/>
            <a:ext cx="201613" cy="20121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5125" y="1289051"/>
            <a:ext cx="3170238" cy="3389314"/>
          </a:xfrm>
        </p:spPr>
        <p:txBody>
          <a:bodyPr/>
          <a:lstStyle>
            <a:lvl1pPr>
              <a:spcBef>
                <a:spcPts val="450"/>
              </a:spcBef>
              <a:spcAft>
                <a:spcPts val="0"/>
              </a:spcAft>
              <a:buClr>
                <a:srgbClr val="2F85AA"/>
              </a:buClr>
              <a:defRPr sz="1050" b="0" baseline="0"/>
            </a:lvl1pPr>
            <a:lvl2pPr>
              <a:spcBef>
                <a:spcPts val="450"/>
              </a:spcBef>
              <a:spcAft>
                <a:spcPts val="0"/>
              </a:spcAft>
              <a:defRPr sz="975" baseline="0"/>
            </a:lvl2pPr>
            <a:lvl3pPr>
              <a:spcBef>
                <a:spcPts val="45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386953" indent="-128588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514350" indent="-128588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65125" y="484633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7360920" y="1"/>
            <a:ext cx="1783080" cy="2551113"/>
          </a:xfrm>
        </p:spPr>
        <p:txBody>
          <a:bodyPr tIns="822960" rtlCol="0">
            <a:noAutofit/>
          </a:bodyPr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3665539" y="1"/>
            <a:ext cx="3629785" cy="2551113"/>
          </a:xfrm>
        </p:spPr>
        <p:txBody>
          <a:bodyPr tIns="822960" rtlCol="0">
            <a:noAutofit/>
          </a:bodyPr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5513229" y="2611439"/>
            <a:ext cx="1783080" cy="2534247"/>
          </a:xfrm>
        </p:spPr>
        <p:txBody>
          <a:bodyPr tIns="822960" rtlCol="0">
            <a:noAutofit/>
          </a:bodyPr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3665538" y="2611439"/>
            <a:ext cx="1783080" cy="2534247"/>
          </a:xfrm>
        </p:spPr>
        <p:txBody>
          <a:bodyPr tIns="822960" rtlCol="0">
            <a:noAutofit/>
          </a:bodyPr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7360920" y="2609254"/>
            <a:ext cx="1783080" cy="2534247"/>
          </a:xfrm>
        </p:spPr>
        <p:txBody>
          <a:bodyPr tIns="822960" rtlCol="0">
            <a:noAutofit/>
          </a:bodyPr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40287621"/>
      </p:ext>
    </p:extLst>
  </p:cSld>
  <p:clrMapOvr>
    <a:masterClrMapping/>
  </p:clrMapOvr>
  <p:transition spd="med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6 Image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" y="502444"/>
            <a:ext cx="201613" cy="20121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2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7360920" y="1"/>
            <a:ext cx="1783080" cy="1704561"/>
          </a:xfrm>
        </p:spPr>
        <p:txBody>
          <a:bodyPr tIns="822960" rtlCol="0">
            <a:noAutofit/>
          </a:bodyPr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3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3665539" y="1"/>
            <a:ext cx="3629785" cy="3096039"/>
          </a:xfrm>
        </p:spPr>
        <p:txBody>
          <a:bodyPr tIns="822960" rtlCol="0">
            <a:noAutofit/>
          </a:bodyPr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1"/>
          </p:nvPr>
        </p:nvSpPr>
        <p:spPr>
          <a:xfrm>
            <a:off x="7360920" y="1764195"/>
            <a:ext cx="1783080" cy="1331845"/>
          </a:xfrm>
        </p:spPr>
        <p:txBody>
          <a:bodyPr tIns="822960" rtlCol="0">
            <a:noAutofit/>
          </a:bodyPr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5513229" y="3155673"/>
            <a:ext cx="1783080" cy="1990012"/>
          </a:xfrm>
        </p:spPr>
        <p:txBody>
          <a:bodyPr tIns="822960" rtlCol="0">
            <a:noAutofit/>
          </a:bodyPr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3665538" y="3155675"/>
            <a:ext cx="1783080" cy="1990012"/>
          </a:xfrm>
        </p:spPr>
        <p:txBody>
          <a:bodyPr tIns="822960" rtlCol="0">
            <a:noAutofit/>
          </a:bodyPr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5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7360920" y="3153489"/>
            <a:ext cx="1783080" cy="1990012"/>
          </a:xfrm>
        </p:spPr>
        <p:txBody>
          <a:bodyPr tIns="822960" rtlCol="0">
            <a:noAutofit/>
          </a:bodyPr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5125" y="1289051"/>
            <a:ext cx="3170238" cy="3389314"/>
          </a:xfrm>
        </p:spPr>
        <p:txBody>
          <a:bodyPr/>
          <a:lstStyle>
            <a:lvl1pPr>
              <a:spcBef>
                <a:spcPts val="450"/>
              </a:spcBef>
              <a:spcAft>
                <a:spcPts val="0"/>
              </a:spcAft>
              <a:buClr>
                <a:srgbClr val="2F85AA"/>
              </a:buClr>
              <a:defRPr sz="1050" b="0" baseline="0"/>
            </a:lvl1pPr>
            <a:lvl2pPr>
              <a:spcBef>
                <a:spcPts val="450"/>
              </a:spcBef>
              <a:spcAft>
                <a:spcPts val="0"/>
              </a:spcAft>
              <a:defRPr sz="975" baseline="0"/>
            </a:lvl2pPr>
            <a:lvl3pPr>
              <a:spcBef>
                <a:spcPts val="45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386953" indent="-128588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514350" indent="-128588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65125" y="484633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23805396"/>
      </p:ext>
    </p:extLst>
  </p:cSld>
  <p:clrMapOvr>
    <a:masterClrMapping/>
  </p:clrMapOvr>
  <p:transition spd="med"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6 Image Grid-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" y="502444"/>
            <a:ext cx="201613" cy="20121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5125" y="1289051"/>
            <a:ext cx="3170238" cy="3389314"/>
          </a:xfrm>
        </p:spPr>
        <p:txBody>
          <a:bodyPr/>
          <a:lstStyle>
            <a:lvl1pPr>
              <a:spcBef>
                <a:spcPts val="450"/>
              </a:spcBef>
              <a:spcAft>
                <a:spcPts val="0"/>
              </a:spcAft>
              <a:buClr>
                <a:srgbClr val="2F85AA"/>
              </a:buClr>
              <a:defRPr sz="1050" b="0" baseline="0"/>
            </a:lvl1pPr>
            <a:lvl2pPr>
              <a:spcBef>
                <a:spcPts val="450"/>
              </a:spcBef>
              <a:spcAft>
                <a:spcPts val="0"/>
              </a:spcAft>
              <a:defRPr sz="975" baseline="0"/>
            </a:lvl2pPr>
            <a:lvl3pPr>
              <a:spcBef>
                <a:spcPts val="45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386953" indent="-128588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514350" indent="-128588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65125" y="484633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5513229" y="2611439"/>
            <a:ext cx="1783080" cy="2534247"/>
          </a:xfrm>
        </p:spPr>
        <p:txBody>
          <a:bodyPr tIns="822960" rtlCol="0">
            <a:noAutofit/>
          </a:bodyPr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3665538" y="2611439"/>
            <a:ext cx="1783080" cy="2534247"/>
          </a:xfrm>
        </p:spPr>
        <p:txBody>
          <a:bodyPr tIns="822960" rtlCol="0">
            <a:noAutofit/>
          </a:bodyPr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8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7360920" y="2609254"/>
            <a:ext cx="1783080" cy="2534247"/>
          </a:xfrm>
        </p:spPr>
        <p:txBody>
          <a:bodyPr tIns="822960" rtlCol="0">
            <a:noAutofit/>
          </a:bodyPr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9" name="Picture Placeholder 6"/>
          <p:cNvSpPr>
            <a:spLocks noGrp="1"/>
          </p:cNvSpPr>
          <p:nvPr>
            <p:ph type="pic" sz="quarter" idx="18"/>
          </p:nvPr>
        </p:nvSpPr>
        <p:spPr>
          <a:xfrm>
            <a:off x="5513229" y="2186"/>
            <a:ext cx="1783080" cy="2534247"/>
          </a:xfrm>
        </p:spPr>
        <p:txBody>
          <a:bodyPr tIns="822960" rtlCol="0">
            <a:noAutofit/>
          </a:bodyPr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19"/>
          </p:nvPr>
        </p:nvSpPr>
        <p:spPr>
          <a:xfrm>
            <a:off x="3665538" y="2186"/>
            <a:ext cx="1783080" cy="2534247"/>
          </a:xfrm>
        </p:spPr>
        <p:txBody>
          <a:bodyPr tIns="822960" rtlCol="0">
            <a:noAutofit/>
          </a:bodyPr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1" name="Picture Placeholder 6"/>
          <p:cNvSpPr>
            <a:spLocks noGrp="1"/>
          </p:cNvSpPr>
          <p:nvPr>
            <p:ph type="pic" sz="quarter" idx="20"/>
          </p:nvPr>
        </p:nvSpPr>
        <p:spPr>
          <a:xfrm>
            <a:off x="7360920" y="1"/>
            <a:ext cx="1783080" cy="2534247"/>
          </a:xfrm>
        </p:spPr>
        <p:txBody>
          <a:bodyPr tIns="822960" rtlCol="0">
            <a:noAutofit/>
          </a:bodyPr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47868533"/>
      </p:ext>
    </p:extLst>
  </p:cSld>
  <p:clrMapOvr>
    <a:masterClrMapping/>
  </p:clrMapOvr>
  <p:transition spd="med">
    <p:fade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5126" y="3687418"/>
            <a:ext cx="8329613" cy="1005233"/>
          </a:xfrm>
        </p:spPr>
        <p:txBody>
          <a:bodyPr/>
          <a:lstStyle>
            <a:lvl1pPr>
              <a:spcBef>
                <a:spcPts val="450"/>
              </a:spcBef>
              <a:spcAft>
                <a:spcPts val="0"/>
              </a:spcAft>
              <a:defRPr sz="1050" b="0" baseline="0"/>
            </a:lvl1pPr>
            <a:lvl2pPr marL="128588" indent="-128588">
              <a:spcBef>
                <a:spcPts val="45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975"/>
            </a:lvl2pPr>
            <a:lvl3pPr marL="257175" indent="-128588">
              <a:spcBef>
                <a:spcPts val="45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386954" indent="-129779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515541" indent="-128588">
              <a:spcBef>
                <a:spcPts val="45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26" y="484633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357188" y="1198564"/>
            <a:ext cx="8355012" cy="2369585"/>
          </a:xfrm>
        </p:spPr>
        <p:txBody>
          <a:bodyPr tIns="822960" rtlCol="0">
            <a:noAutofit/>
          </a:bodyPr>
          <a:lstStyle>
            <a:lvl1pPr marL="0" indent="0" algn="ctr">
              <a:buNone/>
              <a:defRPr baseline="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/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8BE49613-A413-4D94-B8AE-9005199D05C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5565592"/>
      </p:ext>
    </p:extLst>
  </p:cSld>
  <p:clrMapOvr>
    <a:masterClrMapping/>
  </p:clrMapOvr>
  <p:transition spd="med"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</p:spPr>
        <p:txBody>
          <a:bodyPr lIns="182880" tIns="1828800" rtlCol="0">
            <a:noAutofit/>
          </a:bodyPr>
          <a:lstStyle>
            <a:lvl1pPr marL="0" indent="0" algn="ctr">
              <a:buFontTx/>
              <a:buNone/>
              <a:defRPr baseline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67574110"/>
      </p:ext>
    </p:extLst>
  </p:cSld>
  <p:clrMapOvr>
    <a:masterClrMapping/>
  </p:clrMapOvr>
  <p:transition spd="med"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20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5126" y="1128091"/>
            <a:ext cx="8329613" cy="383742"/>
          </a:xfrm>
        </p:spPr>
        <p:txBody>
          <a:bodyPr/>
          <a:lstStyle>
            <a:lvl1pPr>
              <a:spcBef>
                <a:spcPts val="450"/>
              </a:spcBef>
              <a:defRPr sz="1050" b="0" baseline="0"/>
            </a:lvl1pPr>
            <a:lvl2pPr marL="128588" indent="-128588">
              <a:spcBef>
                <a:spcPts val="252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975"/>
            </a:lvl2pPr>
            <a:lvl3pPr marL="257175" indent="-128588">
              <a:spcBef>
                <a:spcPts val="252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386954" indent="-129779">
              <a:spcBef>
                <a:spcPts val="252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515541" indent="-128588">
              <a:spcBef>
                <a:spcPts val="252"/>
              </a:spcBef>
              <a:defRPr baseline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57190" y="1575140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6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9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2839340" y="1575140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6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0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5321490" y="1575140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6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9"/>
          </p:nvPr>
        </p:nvSpPr>
        <p:spPr>
          <a:xfrm>
            <a:off x="7803637" y="1575140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6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26" y="484633"/>
            <a:ext cx="8347075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9" name="Picture Placeholder 3"/>
          <p:cNvSpPr>
            <a:spLocks noGrp="1"/>
          </p:cNvSpPr>
          <p:nvPr>
            <p:ph type="pic" sz="quarter" idx="21"/>
          </p:nvPr>
        </p:nvSpPr>
        <p:spPr>
          <a:xfrm>
            <a:off x="1598265" y="1575140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6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0" name="Picture Placeholder 3"/>
          <p:cNvSpPr>
            <a:spLocks noGrp="1"/>
          </p:cNvSpPr>
          <p:nvPr>
            <p:ph type="pic" sz="quarter" idx="22"/>
          </p:nvPr>
        </p:nvSpPr>
        <p:spPr>
          <a:xfrm>
            <a:off x="4080415" y="1575140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6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1" name="Picture Placeholder 3"/>
          <p:cNvSpPr>
            <a:spLocks noGrp="1"/>
          </p:cNvSpPr>
          <p:nvPr>
            <p:ph type="pic" sz="quarter" idx="23"/>
          </p:nvPr>
        </p:nvSpPr>
        <p:spPr>
          <a:xfrm>
            <a:off x="6562565" y="1575140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6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2" name="Picture Placeholder 3"/>
          <p:cNvSpPr>
            <a:spLocks noGrp="1"/>
          </p:cNvSpPr>
          <p:nvPr>
            <p:ph type="pic" sz="quarter" idx="24"/>
          </p:nvPr>
        </p:nvSpPr>
        <p:spPr>
          <a:xfrm>
            <a:off x="357190" y="2674748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6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3" name="Picture Placeholder 3"/>
          <p:cNvSpPr>
            <a:spLocks noGrp="1"/>
          </p:cNvSpPr>
          <p:nvPr>
            <p:ph type="pic" sz="quarter" idx="25"/>
          </p:nvPr>
        </p:nvSpPr>
        <p:spPr>
          <a:xfrm>
            <a:off x="2839340" y="2674748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6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4" name="Picture Placeholder 3"/>
          <p:cNvSpPr>
            <a:spLocks noGrp="1"/>
          </p:cNvSpPr>
          <p:nvPr>
            <p:ph type="pic" sz="quarter" idx="26"/>
          </p:nvPr>
        </p:nvSpPr>
        <p:spPr>
          <a:xfrm>
            <a:off x="5321490" y="2674748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6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5" name="Picture Placeholder 3"/>
          <p:cNvSpPr>
            <a:spLocks noGrp="1"/>
          </p:cNvSpPr>
          <p:nvPr>
            <p:ph type="pic" sz="quarter" idx="27"/>
          </p:nvPr>
        </p:nvSpPr>
        <p:spPr>
          <a:xfrm>
            <a:off x="7803637" y="2674748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6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7" name="Picture Placeholder 3"/>
          <p:cNvSpPr>
            <a:spLocks noGrp="1"/>
          </p:cNvSpPr>
          <p:nvPr>
            <p:ph type="pic" sz="quarter" idx="29"/>
          </p:nvPr>
        </p:nvSpPr>
        <p:spPr>
          <a:xfrm>
            <a:off x="1598265" y="2674748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6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8" name="Picture Placeholder 3"/>
          <p:cNvSpPr>
            <a:spLocks noGrp="1"/>
          </p:cNvSpPr>
          <p:nvPr>
            <p:ph type="pic" sz="quarter" idx="30"/>
          </p:nvPr>
        </p:nvSpPr>
        <p:spPr>
          <a:xfrm>
            <a:off x="4080415" y="2674748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6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59" name="Picture Placeholder 3"/>
          <p:cNvSpPr>
            <a:spLocks noGrp="1"/>
          </p:cNvSpPr>
          <p:nvPr>
            <p:ph type="pic" sz="quarter" idx="31"/>
          </p:nvPr>
        </p:nvSpPr>
        <p:spPr>
          <a:xfrm>
            <a:off x="6562565" y="2674748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6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6" name="Picture Placeholder 3"/>
          <p:cNvSpPr>
            <a:spLocks noGrp="1"/>
          </p:cNvSpPr>
          <p:nvPr>
            <p:ph type="pic" sz="quarter" idx="32"/>
          </p:nvPr>
        </p:nvSpPr>
        <p:spPr>
          <a:xfrm>
            <a:off x="357190" y="3774358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6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7" name="Picture Placeholder 3"/>
          <p:cNvSpPr>
            <a:spLocks noGrp="1"/>
          </p:cNvSpPr>
          <p:nvPr>
            <p:ph type="pic" sz="quarter" idx="33"/>
          </p:nvPr>
        </p:nvSpPr>
        <p:spPr>
          <a:xfrm>
            <a:off x="2839340" y="3774358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6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8" name="Picture Placeholder 3"/>
          <p:cNvSpPr>
            <a:spLocks noGrp="1"/>
          </p:cNvSpPr>
          <p:nvPr>
            <p:ph type="pic" sz="quarter" idx="34"/>
          </p:nvPr>
        </p:nvSpPr>
        <p:spPr>
          <a:xfrm>
            <a:off x="5321490" y="3774358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6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9" name="Picture Placeholder 3"/>
          <p:cNvSpPr>
            <a:spLocks noGrp="1"/>
          </p:cNvSpPr>
          <p:nvPr>
            <p:ph type="pic" sz="quarter" idx="35"/>
          </p:nvPr>
        </p:nvSpPr>
        <p:spPr>
          <a:xfrm>
            <a:off x="7803637" y="3774358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6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1" name="Picture Placeholder 3"/>
          <p:cNvSpPr>
            <a:spLocks noGrp="1"/>
          </p:cNvSpPr>
          <p:nvPr>
            <p:ph type="pic" sz="quarter" idx="37"/>
          </p:nvPr>
        </p:nvSpPr>
        <p:spPr>
          <a:xfrm>
            <a:off x="1598265" y="3774358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6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2" name="Picture Placeholder 3"/>
          <p:cNvSpPr>
            <a:spLocks noGrp="1"/>
          </p:cNvSpPr>
          <p:nvPr>
            <p:ph type="pic" sz="quarter" idx="38"/>
          </p:nvPr>
        </p:nvSpPr>
        <p:spPr>
          <a:xfrm>
            <a:off x="4080415" y="3774358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6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33" name="Picture Placeholder 3"/>
          <p:cNvSpPr>
            <a:spLocks noGrp="1"/>
          </p:cNvSpPr>
          <p:nvPr>
            <p:ph type="pic" sz="quarter" idx="39"/>
          </p:nvPr>
        </p:nvSpPr>
        <p:spPr>
          <a:xfrm>
            <a:off x="6562565" y="3774358"/>
            <a:ext cx="908565" cy="908565"/>
          </a:xfrm>
          <a:noFill/>
        </p:spPr>
        <p:txBody>
          <a:bodyPr rtlCol="0">
            <a:noAutofit/>
          </a:bodyPr>
          <a:lstStyle>
            <a:lvl1pPr algn="l">
              <a:defRPr sz="600"/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25" name="Footer Placeholder 4"/>
          <p:cNvSpPr>
            <a:spLocks noGrp="1"/>
          </p:cNvSpPr>
          <p:nvPr>
            <p:ph type="ftr" sz="quarter" idx="40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/>
              <a:t>© Bill &amp; Melinda Gates Foundation      |</a:t>
            </a:r>
          </a:p>
        </p:txBody>
      </p:sp>
      <p:sp>
        <p:nvSpPr>
          <p:cNvPr id="30" name="Slide Number Placeholder 5"/>
          <p:cNvSpPr>
            <a:spLocks noGrp="1"/>
          </p:cNvSpPr>
          <p:nvPr>
            <p:ph type="sldNum" sz="quarter" idx="4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740D12A5-FF0D-49DB-8A17-FAFD46221C7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1369765"/>
      </p:ext>
    </p:extLst>
  </p:cSld>
  <p:clrMapOvr>
    <a:masterClrMapping/>
  </p:clrMapOvr>
  <p:transition spd="med"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shots (Max of 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6"/>
          </p:nvPr>
        </p:nvSpPr>
        <p:spPr>
          <a:xfrm>
            <a:off x="357188" y="1214438"/>
            <a:ext cx="1371600" cy="1371600"/>
          </a:xfrm>
          <a:noFill/>
        </p:spPr>
        <p:txBody>
          <a:bodyPr tIns="91440" rtlCol="0">
            <a:noAutofit/>
          </a:bodyPr>
          <a:lstStyle>
            <a:lvl1pPr marL="0" indent="0" algn="ctr">
              <a:buNone/>
              <a:defRPr sz="675" baseline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7"/>
          </p:nvPr>
        </p:nvSpPr>
        <p:spPr>
          <a:xfrm>
            <a:off x="1788238" y="1945526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75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6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Picture Placeholder 20"/>
          <p:cNvSpPr>
            <a:spLocks noGrp="1"/>
          </p:cNvSpPr>
          <p:nvPr>
            <p:ph type="pic" sz="quarter" idx="18"/>
          </p:nvPr>
        </p:nvSpPr>
        <p:spPr>
          <a:xfrm>
            <a:off x="357188" y="2782888"/>
            <a:ext cx="1371600" cy="1371600"/>
          </a:xfrm>
          <a:noFill/>
        </p:spPr>
        <p:txBody>
          <a:bodyPr tIns="91440" rtlCol="0">
            <a:noAutofit/>
          </a:bodyPr>
          <a:lstStyle>
            <a:lvl1pPr marL="0" indent="0" algn="ctr">
              <a:buNone/>
              <a:defRPr sz="675" baseline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9" name="Text Placeholder 22"/>
          <p:cNvSpPr>
            <a:spLocks noGrp="1"/>
          </p:cNvSpPr>
          <p:nvPr>
            <p:ph type="body" sz="quarter" idx="19"/>
          </p:nvPr>
        </p:nvSpPr>
        <p:spPr>
          <a:xfrm>
            <a:off x="1788238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75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6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0" name="Picture Placeholder 20"/>
          <p:cNvSpPr>
            <a:spLocks noGrp="1"/>
          </p:cNvSpPr>
          <p:nvPr>
            <p:ph type="pic" sz="quarter" idx="20"/>
          </p:nvPr>
        </p:nvSpPr>
        <p:spPr>
          <a:xfrm>
            <a:off x="3193271" y="1214438"/>
            <a:ext cx="1371600" cy="1371600"/>
          </a:xfrm>
          <a:noFill/>
        </p:spPr>
        <p:txBody>
          <a:bodyPr tIns="91440" rtlCol="0">
            <a:noAutofit/>
          </a:bodyPr>
          <a:lstStyle>
            <a:lvl1pPr marL="0" indent="0" algn="ctr">
              <a:buNone/>
              <a:defRPr sz="675" baseline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2" name="Text Placeholder 22"/>
          <p:cNvSpPr>
            <a:spLocks noGrp="1"/>
          </p:cNvSpPr>
          <p:nvPr>
            <p:ph type="body" sz="quarter" idx="21"/>
          </p:nvPr>
        </p:nvSpPr>
        <p:spPr>
          <a:xfrm>
            <a:off x="4624321" y="1945526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75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6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Picture Placeholder 20"/>
          <p:cNvSpPr>
            <a:spLocks noGrp="1"/>
          </p:cNvSpPr>
          <p:nvPr>
            <p:ph type="pic" sz="quarter" idx="22"/>
          </p:nvPr>
        </p:nvSpPr>
        <p:spPr>
          <a:xfrm>
            <a:off x="3193271" y="2782888"/>
            <a:ext cx="1371600" cy="1371600"/>
          </a:xfrm>
          <a:noFill/>
        </p:spPr>
        <p:txBody>
          <a:bodyPr tIns="91440" rtlCol="0">
            <a:noAutofit/>
          </a:bodyPr>
          <a:lstStyle>
            <a:lvl1pPr marL="0" indent="0" algn="ctr">
              <a:buNone/>
              <a:defRPr sz="675" baseline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1" name="Text Placeholder 22"/>
          <p:cNvSpPr>
            <a:spLocks noGrp="1"/>
          </p:cNvSpPr>
          <p:nvPr>
            <p:ph type="body" sz="quarter" idx="23"/>
          </p:nvPr>
        </p:nvSpPr>
        <p:spPr>
          <a:xfrm>
            <a:off x="4624321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75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6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Picture Placeholder 20"/>
          <p:cNvSpPr>
            <a:spLocks noGrp="1"/>
          </p:cNvSpPr>
          <p:nvPr>
            <p:ph type="pic" sz="quarter" idx="24"/>
          </p:nvPr>
        </p:nvSpPr>
        <p:spPr>
          <a:xfrm>
            <a:off x="6015759" y="1214438"/>
            <a:ext cx="1371600" cy="1371600"/>
          </a:xfrm>
          <a:noFill/>
        </p:spPr>
        <p:txBody>
          <a:bodyPr tIns="91440" rtlCol="0">
            <a:noAutofit/>
          </a:bodyPr>
          <a:lstStyle>
            <a:lvl1pPr marL="0" indent="0" algn="ctr">
              <a:buNone/>
              <a:defRPr sz="675" baseline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3" name="Text Placeholder 22"/>
          <p:cNvSpPr>
            <a:spLocks noGrp="1"/>
          </p:cNvSpPr>
          <p:nvPr>
            <p:ph type="body" sz="quarter" idx="25"/>
          </p:nvPr>
        </p:nvSpPr>
        <p:spPr>
          <a:xfrm>
            <a:off x="7446809" y="1945526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75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6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Picture Placeholder 20"/>
          <p:cNvSpPr>
            <a:spLocks noGrp="1"/>
          </p:cNvSpPr>
          <p:nvPr>
            <p:ph type="pic" sz="quarter" idx="26"/>
          </p:nvPr>
        </p:nvSpPr>
        <p:spPr>
          <a:xfrm>
            <a:off x="6015759" y="2782888"/>
            <a:ext cx="1371600" cy="1371600"/>
          </a:xfrm>
          <a:noFill/>
        </p:spPr>
        <p:txBody>
          <a:bodyPr tIns="91440" rtlCol="0">
            <a:noAutofit/>
          </a:bodyPr>
          <a:lstStyle>
            <a:lvl1pPr marL="0" indent="0" algn="ctr">
              <a:buNone/>
              <a:defRPr sz="675" baseline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7"/>
          </p:nvPr>
        </p:nvSpPr>
        <p:spPr>
          <a:xfrm>
            <a:off x="7446809" y="3513975"/>
            <a:ext cx="1305254" cy="64181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750" b="1">
                <a:solidFill>
                  <a:schemeClr val="accent3">
                    <a:lumMod val="75000"/>
                  </a:schemeClr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6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65126" y="484633"/>
            <a:ext cx="8347075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Footer Placeholder 3"/>
          <p:cNvSpPr>
            <a:spLocks noGrp="1"/>
          </p:cNvSpPr>
          <p:nvPr>
            <p:ph type="ftr" sz="quarter" idx="28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/>
              <a:t>© Bill &amp; Melinda Gates Foundation      |</a:t>
            </a:r>
          </a:p>
        </p:txBody>
      </p:sp>
      <p:sp>
        <p:nvSpPr>
          <p:cNvPr id="16" name="Slide Number Placeholder 4"/>
          <p:cNvSpPr>
            <a:spLocks noGrp="1"/>
          </p:cNvSpPr>
          <p:nvPr>
            <p:ph type="sldNum" sz="quarter" idx="29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5AF8199B-192E-49BB-9CB6-EBDC647B5BE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4928586"/>
      </p:ext>
    </p:extLst>
  </p:cSld>
  <p:clrMapOvr>
    <a:masterClrMapping/>
  </p:clrMapOvr>
  <p:transition spd="med"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/>
          </p:nvPr>
        </p:nvSpPr>
        <p:spPr>
          <a:xfrm>
            <a:off x="357188" y="3299829"/>
            <a:ext cx="8355012" cy="1464260"/>
          </a:xfrm>
        </p:spPr>
        <p:txBody>
          <a:bodyPr/>
          <a:lstStyle>
            <a:lvl1pPr marL="0" indent="0">
              <a:spcBef>
                <a:spcPts val="450"/>
              </a:spcBef>
              <a:buNone/>
              <a:defRPr sz="1050" b="0" baseline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6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/>
          </p:nvPr>
        </p:nvSpPr>
        <p:spPr>
          <a:xfrm>
            <a:off x="357188" y="2946461"/>
            <a:ext cx="8355012" cy="34939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975" b="1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6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/>
          </p:nvPr>
        </p:nvSpPr>
        <p:spPr>
          <a:xfrm>
            <a:off x="5967779" y="1287588"/>
            <a:ext cx="2742652" cy="1563563"/>
          </a:xfrm>
          <a:noFill/>
        </p:spPr>
        <p:txBody>
          <a:bodyPr tIns="91440" rtlCol="0">
            <a:noAutofit/>
          </a:bodyPr>
          <a:lstStyle>
            <a:lvl1pPr marL="0" indent="0" algn="ctr">
              <a:buNone/>
              <a:defRPr sz="675" baseline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/>
          </p:nvPr>
        </p:nvSpPr>
        <p:spPr>
          <a:xfrm>
            <a:off x="3166345" y="1292810"/>
            <a:ext cx="2739888" cy="1558341"/>
          </a:xfrm>
          <a:noFill/>
        </p:spPr>
        <p:txBody>
          <a:bodyPr tIns="91440" rtlCol="0">
            <a:noAutofit/>
          </a:bodyPr>
          <a:lstStyle>
            <a:lvl1pPr marL="0" indent="0" algn="ctr">
              <a:buNone/>
              <a:defRPr sz="675" baseline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/>
          </p:nvPr>
        </p:nvSpPr>
        <p:spPr>
          <a:xfrm>
            <a:off x="365410" y="1290435"/>
            <a:ext cx="2740475" cy="1560716"/>
          </a:xfrm>
          <a:noFill/>
        </p:spPr>
        <p:txBody>
          <a:bodyPr tIns="91440" rtlCol="0">
            <a:noAutofit/>
          </a:bodyPr>
          <a:lstStyle>
            <a:lvl1pPr marL="0" indent="0" algn="ctr">
              <a:buNone/>
              <a:defRPr sz="675" baseline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26" y="484633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21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/>
              <a:t>© Bill &amp; Melinda Gates Foundation      |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130ED3D8-E3E0-4A30-80B2-C77B41300C5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1421137"/>
      </p:ext>
    </p:extLst>
  </p:cSld>
  <p:clrMapOvr>
    <a:masterClrMapping/>
  </p:clrMapOvr>
  <p:transition spd="med"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hoto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22"/>
          <p:cNvSpPr>
            <a:spLocks noGrp="1"/>
          </p:cNvSpPr>
          <p:nvPr>
            <p:ph type="body" sz="quarter" idx="20"/>
          </p:nvPr>
        </p:nvSpPr>
        <p:spPr>
          <a:xfrm>
            <a:off x="357188" y="3378252"/>
            <a:ext cx="1856232" cy="130293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1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28588" indent="-128588">
              <a:spcBef>
                <a:spcPts val="45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750" baseline="0"/>
            </a:lvl2pPr>
            <a:lvl3pPr marL="255985" indent="-128588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300038" algn="l"/>
              </a:tabLst>
              <a:defRPr sz="75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22"/>
          <p:cNvSpPr>
            <a:spLocks noGrp="1"/>
          </p:cNvSpPr>
          <p:nvPr>
            <p:ph type="body" sz="quarter" idx="19"/>
          </p:nvPr>
        </p:nvSpPr>
        <p:spPr>
          <a:xfrm>
            <a:off x="363814" y="1142094"/>
            <a:ext cx="8355012" cy="468046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050" b="0">
                <a:solidFill>
                  <a:schemeClr val="accent6"/>
                </a:solidFill>
              </a:defRPr>
            </a:lvl1pPr>
            <a:lvl2pPr marL="0" indent="0">
              <a:spcBef>
                <a:spcPts val="0"/>
              </a:spcBef>
              <a:buFont typeface="Arial" pitchFamily="34" charset="0"/>
              <a:buNone/>
              <a:defRPr sz="600"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Picture Placeholder 20"/>
          <p:cNvSpPr>
            <a:spLocks noGrp="1"/>
          </p:cNvSpPr>
          <p:nvPr>
            <p:ph type="pic" sz="quarter" idx="18"/>
          </p:nvPr>
        </p:nvSpPr>
        <p:spPr>
          <a:xfrm>
            <a:off x="4663194" y="1754074"/>
            <a:ext cx="1865376" cy="1490472"/>
          </a:xfrm>
          <a:noFill/>
        </p:spPr>
        <p:txBody>
          <a:bodyPr tIns="91440" rtlCol="0">
            <a:noAutofit/>
          </a:bodyPr>
          <a:lstStyle>
            <a:lvl1pPr marL="0" indent="0" algn="ctr">
              <a:buNone/>
              <a:defRPr sz="675" baseline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7" name="Picture Placeholder 20"/>
          <p:cNvSpPr>
            <a:spLocks noGrp="1"/>
          </p:cNvSpPr>
          <p:nvPr>
            <p:ph type="pic" sz="quarter" idx="17"/>
          </p:nvPr>
        </p:nvSpPr>
        <p:spPr>
          <a:xfrm>
            <a:off x="2510191" y="1754074"/>
            <a:ext cx="1865376" cy="1490472"/>
          </a:xfrm>
          <a:noFill/>
        </p:spPr>
        <p:txBody>
          <a:bodyPr tIns="91440" rtlCol="0">
            <a:noAutofit/>
          </a:bodyPr>
          <a:lstStyle>
            <a:lvl1pPr marL="0" indent="0" algn="ctr">
              <a:buNone/>
              <a:defRPr sz="675" baseline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6" name="Picture Placeholder 20"/>
          <p:cNvSpPr>
            <a:spLocks noGrp="1"/>
          </p:cNvSpPr>
          <p:nvPr>
            <p:ph type="pic" sz="quarter" idx="16"/>
          </p:nvPr>
        </p:nvSpPr>
        <p:spPr>
          <a:xfrm>
            <a:off x="357188" y="1754074"/>
            <a:ext cx="1865376" cy="1490472"/>
          </a:xfrm>
          <a:noFill/>
        </p:spPr>
        <p:txBody>
          <a:bodyPr tIns="91440" rtlCol="0">
            <a:noAutofit/>
          </a:bodyPr>
          <a:lstStyle>
            <a:lvl1pPr marL="0" indent="0" algn="ctr">
              <a:buNone/>
              <a:defRPr sz="675" baseline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126" y="484633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3" name="Picture Placeholder 20"/>
          <p:cNvSpPr>
            <a:spLocks noGrp="1"/>
          </p:cNvSpPr>
          <p:nvPr>
            <p:ph type="pic" sz="quarter" idx="21"/>
          </p:nvPr>
        </p:nvSpPr>
        <p:spPr>
          <a:xfrm>
            <a:off x="6832537" y="1754074"/>
            <a:ext cx="1865376" cy="1490472"/>
          </a:xfrm>
          <a:noFill/>
        </p:spPr>
        <p:txBody>
          <a:bodyPr tIns="91440" rtlCol="0">
            <a:noAutofit/>
          </a:bodyPr>
          <a:lstStyle>
            <a:lvl1pPr marL="0" indent="0" algn="ctr">
              <a:buNone/>
              <a:defRPr sz="675" baseline="0"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4" name="Text Placeholder 22"/>
          <p:cNvSpPr>
            <a:spLocks noGrp="1"/>
          </p:cNvSpPr>
          <p:nvPr>
            <p:ph type="body" sz="quarter" idx="22"/>
          </p:nvPr>
        </p:nvSpPr>
        <p:spPr>
          <a:xfrm>
            <a:off x="2510191" y="3378252"/>
            <a:ext cx="1856232" cy="130293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1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28588" indent="-128588">
              <a:spcBef>
                <a:spcPts val="450"/>
              </a:spcBef>
              <a:buFont typeface="Wingdings" panose="05000000000000000000" pitchFamily="2" charset="2"/>
              <a:buChar char="§"/>
              <a:defRPr sz="750" baseline="0"/>
            </a:lvl2pPr>
            <a:lvl3pPr marL="255985" indent="-128588">
              <a:spcBef>
                <a:spcPts val="450"/>
              </a:spcBef>
              <a:buFont typeface="Arial" panose="020B0604020202020204" pitchFamily="34" charset="0"/>
              <a:buChar char="•"/>
              <a:tabLst/>
              <a:defRPr sz="75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 Placeholder 22"/>
          <p:cNvSpPr>
            <a:spLocks noGrp="1"/>
          </p:cNvSpPr>
          <p:nvPr>
            <p:ph type="body" sz="quarter" idx="23"/>
          </p:nvPr>
        </p:nvSpPr>
        <p:spPr>
          <a:xfrm>
            <a:off x="4663194" y="3378252"/>
            <a:ext cx="1856232" cy="130293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1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28588" indent="-128588">
              <a:spcBef>
                <a:spcPts val="450"/>
              </a:spcBef>
              <a:buFont typeface="Wingdings" panose="05000000000000000000" pitchFamily="2" charset="2"/>
              <a:buChar char="§"/>
              <a:defRPr sz="750" baseline="0"/>
            </a:lvl2pPr>
            <a:lvl3pPr marL="255985" indent="-128588">
              <a:spcBef>
                <a:spcPts val="450"/>
              </a:spcBef>
              <a:buFont typeface="Arial" panose="020B0604020202020204" pitchFamily="34" charset="0"/>
              <a:buChar char="•"/>
              <a:tabLst/>
              <a:defRPr sz="75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 Placeholder 22"/>
          <p:cNvSpPr>
            <a:spLocks noGrp="1"/>
          </p:cNvSpPr>
          <p:nvPr>
            <p:ph type="body" sz="quarter" idx="24"/>
          </p:nvPr>
        </p:nvSpPr>
        <p:spPr>
          <a:xfrm>
            <a:off x="6841681" y="3378252"/>
            <a:ext cx="1856232" cy="1302930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100" b="1" baseline="0">
                <a:solidFill>
                  <a:schemeClr val="accent3">
                    <a:lumMod val="75000"/>
                  </a:schemeClr>
                </a:solidFill>
              </a:defRPr>
            </a:lvl1pPr>
            <a:lvl2pPr marL="128588" indent="-128588">
              <a:spcBef>
                <a:spcPts val="450"/>
              </a:spcBef>
              <a:buFont typeface="Wingdings" panose="05000000000000000000" pitchFamily="2" charset="2"/>
              <a:buChar char="§"/>
              <a:defRPr sz="750" baseline="0"/>
            </a:lvl2pPr>
            <a:lvl3pPr marL="255985" indent="-128588">
              <a:spcBef>
                <a:spcPts val="450"/>
              </a:spcBef>
              <a:buFont typeface="Arial" panose="020B0604020202020204" pitchFamily="34" charset="0"/>
              <a:buChar char="•"/>
              <a:tabLst/>
              <a:defRPr sz="750" baseline="0"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r>
              <a:rPr lang="en-US"/>
              <a:t>© Bill &amp; Melinda Gates Foundation      |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87F515B1-576C-4369-9333-49B810F2F0E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5095171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5" y="1289050"/>
            <a:ext cx="3170238" cy="3389314"/>
          </a:xfrm>
        </p:spPr>
        <p:txBody>
          <a:bodyPr/>
          <a:lstStyle>
            <a:lvl1pPr>
              <a:spcBef>
                <a:spcPts val="600"/>
              </a:spcBef>
              <a:spcAft>
                <a:spcPts val="0"/>
              </a:spcAft>
              <a:buClr>
                <a:srgbClr val="2F85AA"/>
              </a:buClr>
              <a:defRPr sz="1400" b="0" baseline="0"/>
            </a:lvl1pPr>
            <a:lvl2pPr>
              <a:spcBef>
                <a:spcPts val="600"/>
              </a:spcBef>
              <a:spcAft>
                <a:spcPts val="0"/>
              </a:spcAft>
              <a:defRPr sz="1300" baseline="0"/>
            </a:lvl2pPr>
            <a:lvl3pPr>
              <a:spcBef>
                <a:spcPts val="6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515937" indent="-1714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685800" indent="-171450">
              <a:spcBef>
                <a:spcPts val="600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dirty="0"/>
              <a:t>© Bill &amp; Melinda Gates Foundation      |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65125" y="484632"/>
            <a:ext cx="3170238" cy="646646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56013" y="488950"/>
            <a:ext cx="5038726" cy="4189414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</p:spTree>
    <p:extLst>
      <p:ext uri="{BB962C8B-B14F-4D97-AF65-F5344CB8AC3E}">
        <p14:creationId xmlns:p14="http://schemas.microsoft.com/office/powerpoint/2010/main" val="2706060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 bwMode="auto">
          <a:xfrm>
            <a:off x="0" y="4720524"/>
            <a:ext cx="9144000" cy="423001"/>
          </a:xfrm>
          <a:prstGeom prst="rect">
            <a:avLst/>
          </a:prstGeom>
          <a:solidFill>
            <a:schemeClr val="accent3"/>
          </a:solidFill>
          <a:ln w="12700"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lIns="68396" tIns="34199" rIns="68396" bIns="34199" anchor="ctr"/>
          <a:lstStyle/>
          <a:p>
            <a:pPr algn="ctr" defTabSz="68376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725" dirty="0">
              <a:solidFill>
                <a:srgbClr val="977C00">
                  <a:lumMod val="50000"/>
                </a:srgbClr>
              </a:solidFill>
              <a:latin typeface="Segoe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0093" y="416765"/>
            <a:ext cx="7983537" cy="415498"/>
          </a:xfrm>
        </p:spPr>
        <p:txBody>
          <a:bodyPr/>
          <a:lstStyle>
            <a:lvl1pPr>
              <a:lnSpc>
                <a:spcPct val="75000"/>
              </a:lnSpc>
              <a:defRPr sz="2700" spc="0" baseline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806554"/>
            <a:ext cx="2133600" cy="273844"/>
          </a:xfrm>
          <a:prstGeom prst="rect">
            <a:avLst/>
          </a:prstGeom>
        </p:spPr>
        <p:txBody>
          <a:bodyPr vert="horz" lIns="91198" tIns="45600" rIns="91198" bIns="4560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600">
                <a:solidFill>
                  <a:srgbClr val="FFFFFF"/>
                </a:solidFill>
                <a:latin typeface="Arial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243639" y="4806554"/>
            <a:ext cx="2306637" cy="273844"/>
          </a:xfrm>
        </p:spPr>
        <p:txBody>
          <a:bodyPr lIns="91198" tIns="45600" rIns="91198" bIns="45600" anchor="ctr"/>
          <a:lstStyle>
            <a:lvl1pPr algn="l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/>
              <a:t>Bill &amp; Melinda Gates Foundation|Confidential Material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94701" y="4808935"/>
            <a:ext cx="384175" cy="273844"/>
          </a:xfrm>
        </p:spPr>
        <p:txBody>
          <a:bodyPr lIns="91198" tIns="45600" rIns="91198" bIns="45600" anchor="ctr"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75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E58E8945-A4CB-4C28-8110-E07BF9FD968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3313447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59452A"/>
                </a:solidFill>
                <a:latin typeface="Arial"/>
              </a:defRPr>
            </a:lvl1pPr>
          </a:lstStyle>
          <a:p>
            <a:pPr>
              <a:defRPr/>
            </a:pPr>
            <a:fld id="{790E0B26-2DF0-4707-BEE0-EE2CEF40A5B1}" type="datetimeFigureOut">
              <a:rPr lang="en-US"/>
              <a:pPr>
                <a:defRPr/>
              </a:pPr>
              <a:t>8/29/20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/>
            </a:lvl1pPr>
          </a:lstStyle>
          <a:p>
            <a:pPr>
              <a:defRPr/>
            </a:pPr>
            <a:fld id="{3209C511-1E2D-4A98-B5F8-C6FAFB140B6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7681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hape 11"/>
          <p:cNvSpPr txBox="1"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lIns="91425" tIns="91425" rIns="91425" bIns="91425" anchor="b"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12" name="Shape 12"/>
          <p:cNvSpPr txBox="1">
            <a:spLocks noGrp="1"/>
          </p:cNvSpPr>
          <p:nvPr>
            <p:ph type="body" idx="1"/>
          </p:nvPr>
        </p:nvSpPr>
        <p:spPr>
          <a:xfrm>
            <a:off x="457200" y="1200150"/>
            <a:ext cx="8229600" cy="3725680"/>
          </a:xfrm>
          <a:prstGeom prst="rect">
            <a:avLst/>
          </a:prstGeom>
        </p:spPr>
        <p:txBody>
          <a:bodyPr lIns="91425" tIns="91425" rIns="91425" bIns="91425"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  <a:lvl6pPr>
              <a:spcBef>
                <a:spcPts val="0"/>
              </a:spcBef>
              <a:defRPr/>
            </a:lvl6pPr>
            <a:lvl7pPr>
              <a:spcBef>
                <a:spcPts val="0"/>
              </a:spcBef>
              <a:defRPr/>
            </a:lvl7pPr>
            <a:lvl8pPr>
              <a:spcBef>
                <a:spcPts val="0"/>
              </a:spcBef>
              <a:defRPr/>
            </a:lvl8pPr>
            <a:lvl9pPr>
              <a:spcBef>
                <a:spcPts val="0"/>
              </a:spcBef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7786573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6" name="Rectangle 15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13" descr="Gates-logo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1250" y="28576"/>
            <a:ext cx="1250950" cy="1251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65127" y="4059937"/>
            <a:ext cx="8329613" cy="760868"/>
          </a:xfrm>
        </p:spPr>
        <p:txBody>
          <a:bodyPr/>
          <a:lstStyle>
            <a:lvl1pPr marL="1191" indent="0">
              <a:lnSpc>
                <a:spcPts val="1275"/>
              </a:lnSpc>
              <a:spcBef>
                <a:spcPts val="0"/>
              </a:spcBef>
              <a:buNone/>
              <a:defRPr sz="900" b="0">
                <a:solidFill>
                  <a:schemeClr val="bg1">
                    <a:lumMod val="50000"/>
                  </a:schemeClr>
                </a:solidFill>
              </a:defRPr>
            </a:lvl1pPr>
            <a:lvl2pPr marL="1191" indent="0">
              <a:lnSpc>
                <a:spcPts val="1275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2pPr>
            <a:lvl3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3pPr>
            <a:lvl4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4pPr>
            <a:lvl5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/>
          </p:nvPr>
        </p:nvSpPr>
        <p:spPr>
          <a:xfrm>
            <a:off x="365125" y="1864705"/>
            <a:ext cx="8347074" cy="711809"/>
          </a:xfrm>
        </p:spPr>
        <p:txBody>
          <a:bodyPr rtlCol="0" anchor="ctr">
            <a:noAutofit/>
          </a:bodyPr>
          <a:lstStyle>
            <a:lvl1pPr algn="l" defTabSz="685800" rtl="0" eaLnBrk="1" latinLnBrk="0" hangingPunct="1">
              <a:lnSpc>
                <a:spcPts val="1725"/>
              </a:lnSpc>
              <a:spcBef>
                <a:spcPct val="0"/>
              </a:spcBef>
              <a:buNone/>
              <a:defRPr lang="en-US" sz="1725" b="0" kern="1200" cap="all" baseline="0" dirty="0" smtClean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defTabSz="685800" rtl="0" eaLnBrk="1" latinLnBrk="0" hangingPunct="1">
              <a:lnSpc>
                <a:spcPts val="1725"/>
              </a:lnSpc>
              <a:spcBef>
                <a:spcPct val="0"/>
              </a:spcBef>
              <a:buNone/>
              <a:defRPr lang="en-US" sz="1725" b="0" kern="1200" cap="all" baseline="0" dirty="0" smtClean="0">
                <a:solidFill>
                  <a:schemeClr val="accent6"/>
                </a:solidFill>
                <a:latin typeface="Arial" pitchFamily="34" charset="0"/>
                <a:ea typeface="+mj-ea"/>
                <a:cs typeface="Arial" pitchFamily="34" charset="0"/>
              </a:defRPr>
            </a:lvl2pPr>
            <a:lvl3pPr algn="l" defTabSz="685800" rtl="0" eaLnBrk="1" latinLnBrk="0" hangingPunct="1">
              <a:lnSpc>
                <a:spcPts val="1725"/>
              </a:lnSpc>
              <a:spcBef>
                <a:spcPct val="0"/>
              </a:spcBef>
              <a:buNone/>
              <a:defRPr lang="en-US" sz="1725" b="0" kern="1200" cap="all" baseline="0" dirty="0" smtClean="0">
                <a:solidFill>
                  <a:schemeClr val="accent6"/>
                </a:solidFill>
                <a:latin typeface="Arial" pitchFamily="34" charset="0"/>
                <a:ea typeface="+mj-ea"/>
                <a:cs typeface="Arial" pitchFamily="34" charset="0"/>
              </a:defRPr>
            </a:lvl3pPr>
            <a:lvl4pPr algn="l" defTabSz="685800" rtl="0" eaLnBrk="1" latinLnBrk="0" hangingPunct="1">
              <a:lnSpc>
                <a:spcPts val="1725"/>
              </a:lnSpc>
              <a:spcBef>
                <a:spcPct val="0"/>
              </a:spcBef>
              <a:buNone/>
              <a:defRPr lang="en-US" sz="1725" b="0" kern="1200" cap="all" baseline="0" dirty="0" smtClean="0">
                <a:solidFill>
                  <a:schemeClr val="accent6"/>
                </a:solidFill>
                <a:latin typeface="Arial" pitchFamily="34" charset="0"/>
                <a:ea typeface="+mj-ea"/>
                <a:cs typeface="Arial" pitchFamily="34" charset="0"/>
              </a:defRPr>
            </a:lvl4pPr>
            <a:lvl5pPr algn="l" defTabSz="685800" rtl="0" eaLnBrk="1" latinLnBrk="0" hangingPunct="1">
              <a:lnSpc>
                <a:spcPts val="1725"/>
              </a:lnSpc>
              <a:spcBef>
                <a:spcPct val="0"/>
              </a:spcBef>
              <a:buNone/>
              <a:defRPr lang="en-US" sz="1725" b="0" kern="1200" cap="all" baseline="0" dirty="0" smtClean="0">
                <a:solidFill>
                  <a:schemeClr val="accent6"/>
                </a:solidFill>
                <a:latin typeface="Arial" pitchFamily="34" charset="0"/>
                <a:ea typeface="+mj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6"/>
          </p:nvPr>
        </p:nvSpPr>
        <p:spPr>
          <a:xfrm>
            <a:off x="365127" y="2626207"/>
            <a:ext cx="8347075" cy="440163"/>
          </a:xfrm>
        </p:spPr>
        <p:txBody>
          <a:bodyPr rtlCol="0" anchor="ctr">
            <a:normAutofit/>
          </a:bodyPr>
          <a:lstStyle>
            <a:lvl1pPr marL="0" indent="0" algn="l" defTabSz="666750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lang="en-US" sz="1050" b="0" baseline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0" indent="0" algn="l" defTabSz="666750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lang="en-US" sz="1050" b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2pPr>
            <a:lvl3pPr marL="0" indent="0" algn="l" defTabSz="666750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lang="en-US" sz="1050" b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3pPr>
            <a:lvl4pPr marL="0" indent="0" algn="l" defTabSz="666750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lang="en-US" sz="1050" b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4pPr>
            <a:lvl5pPr marL="0" indent="0" algn="l" defTabSz="666750" rtl="0" eaLnBrk="1" fontAlgn="base" hangingPunct="1">
              <a:spcBef>
                <a:spcPts val="0"/>
              </a:spcBef>
              <a:spcAft>
                <a:spcPct val="0"/>
              </a:spcAft>
              <a:buNone/>
              <a:defRPr lang="en-US" sz="1050" b="0" dirty="0" smtClean="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7"/>
          </p:nvPr>
        </p:nvSpPr>
        <p:spPr>
          <a:xfrm>
            <a:off x="365127" y="3493008"/>
            <a:ext cx="8347075" cy="274636"/>
          </a:xfrm>
        </p:spPr>
        <p:txBody>
          <a:bodyPr rtlCol="0" anchor="ctr"/>
          <a:lstStyle>
            <a:lvl1pPr algn="l" rtl="0" fontAlgn="base">
              <a:defRPr lang="en-US" sz="900" b="0" kern="12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959094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9144000" cy="5143500"/>
          </a:xfrm>
        </p:spPr>
        <p:txBody>
          <a:bodyPr lIns="4754880" tIns="1920240" rIns="0" bIns="0">
            <a:normAutofit/>
          </a:bodyPr>
          <a:lstStyle>
            <a:lvl1pPr marL="0" indent="0">
              <a:buNone/>
              <a:defRPr sz="13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5" y="1844778"/>
            <a:ext cx="4140200" cy="847549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7" y="2722337"/>
            <a:ext cx="4140200" cy="522515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050" b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7" y="4056064"/>
            <a:ext cx="4140200" cy="760868"/>
          </a:xfrm>
        </p:spPr>
        <p:txBody>
          <a:bodyPr/>
          <a:lstStyle>
            <a:lvl1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  <a:lvl2pPr marL="1191" indent="0">
              <a:lnSpc>
                <a:spcPts val="1275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2pPr>
            <a:lvl3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3pPr>
            <a:lvl4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4pPr>
            <a:lvl5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6" y="3493010"/>
            <a:ext cx="4140201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375">
                <a:solidFill>
                  <a:schemeClr val="bg1"/>
                </a:solidFill>
              </a:defRPr>
            </a:lvl1pPr>
          </a:lstStyle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3511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5126" y="1864706"/>
            <a:ext cx="8347074" cy="71180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1725"/>
              </a:lnSpc>
              <a:defRPr sz="1725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5127" y="2626209"/>
            <a:ext cx="8347075" cy="440164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050" b="0">
                <a:solidFill>
                  <a:schemeClr val="accent4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65127" y="4059937"/>
            <a:ext cx="8329613" cy="760868"/>
          </a:xfrm>
        </p:spPr>
        <p:txBody>
          <a:bodyPr/>
          <a:lstStyle>
            <a:lvl1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1191" indent="0">
              <a:lnSpc>
                <a:spcPts val="1275"/>
              </a:lnSpc>
              <a:spcBef>
                <a:spcPts val="0"/>
              </a:spcBef>
              <a:buFont typeface="Arial" panose="020B0604020202020204" pitchFamily="34" charset="0"/>
              <a:buNone/>
              <a:defRPr sz="900">
                <a:solidFill>
                  <a:schemeClr val="bg1"/>
                </a:solidFill>
              </a:defRPr>
            </a:lvl2pPr>
            <a:lvl3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4pPr>
            <a:lvl5pPr marL="1191" indent="0">
              <a:lnSpc>
                <a:spcPts val="1275"/>
              </a:lnSpc>
              <a:spcBef>
                <a:spcPts val="0"/>
              </a:spcBef>
              <a:buNone/>
              <a:defRPr sz="9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365127" y="3493010"/>
            <a:ext cx="8347075" cy="27463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365127" y="3220289"/>
            <a:ext cx="8347075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280" y="1"/>
            <a:ext cx="1645920" cy="1645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5816600" y="4895959"/>
            <a:ext cx="2895600" cy="155598"/>
          </a:xfrm>
        </p:spPr>
        <p:txBody>
          <a:bodyPr/>
          <a:lstStyle>
            <a:lvl1pPr>
              <a:defRPr sz="375"/>
            </a:lvl1pPr>
          </a:lstStyle>
          <a:p>
            <a:pPr algn="r"/>
            <a:r>
              <a:rPr lang="en-US" dirty="0"/>
              <a:t>© Bill &amp; Melinda Gates Foundation      |</a:t>
            </a:r>
          </a:p>
        </p:txBody>
      </p:sp>
      <p:sp>
        <p:nvSpPr>
          <p:cNvPr id="12" name="Footer Placeholder 3"/>
          <p:cNvSpPr txBox="1">
            <a:spLocks/>
          </p:cNvSpPr>
          <p:nvPr userDrawn="1"/>
        </p:nvSpPr>
        <p:spPr>
          <a:xfrm>
            <a:off x="365125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375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07149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-Only 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0"/>
            <a:ext cx="9144000" cy="5143500"/>
          </a:xfrm>
          <a:solidFill>
            <a:schemeClr val="accent3"/>
          </a:solidFill>
        </p:spPr>
        <p:txBody>
          <a:bodyPr lIns="365760" tIns="685800" rIns="365760" bIns="1828800"/>
          <a:lstStyle>
            <a:lvl1pPr marL="0" indent="0">
              <a:lnSpc>
                <a:spcPts val="2550"/>
              </a:lnSpc>
              <a:spcBef>
                <a:spcPts val="900"/>
              </a:spcBef>
              <a:buNone/>
              <a:defRPr lang="en-US" sz="2250" kern="1200" cap="all" baseline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buFont typeface="Arial" pitchFamily="34" charset="0"/>
              <a:buNone/>
              <a:defRPr lang="en-US" sz="27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buNone/>
              <a:defRPr lang="en-US" sz="27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buNone/>
              <a:defRPr lang="en-US" sz="2700" kern="1200" smtClean="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buNone/>
              <a:defRPr lang="en-US" sz="2700" kern="1200">
                <a:solidFill>
                  <a:schemeClr val="accent3">
                    <a:lumMod val="75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952585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289051"/>
            <a:ext cx="8329613" cy="3389313"/>
          </a:xfrm>
        </p:spPr>
        <p:txBody>
          <a:bodyPr/>
          <a:lstStyle>
            <a:lvl1pPr>
              <a:spcBef>
                <a:spcPts val="450"/>
              </a:spcBef>
              <a:spcAft>
                <a:spcPts val="0"/>
              </a:spcAft>
              <a:defRPr sz="1050" b="0" baseline="0"/>
            </a:lvl1pPr>
            <a:lvl2pPr marL="128585" indent="-128585">
              <a:spcBef>
                <a:spcPts val="45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975"/>
            </a:lvl2pPr>
            <a:lvl3pPr marL="257169" indent="-128585">
              <a:spcBef>
                <a:spcPts val="45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sz="900" baseline="0"/>
            </a:lvl3pPr>
            <a:lvl4pPr marL="386944" indent="-129776">
              <a:spcBef>
                <a:spcPts val="45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515528" indent="-128585">
              <a:spcBef>
                <a:spcPts val="45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6" y="484693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7" name="Footer Placeholder 3"/>
          <p:cNvSpPr txBox="1">
            <a:spLocks/>
          </p:cNvSpPr>
          <p:nvPr userDrawn="1"/>
        </p:nvSpPr>
        <p:spPr>
          <a:xfrm>
            <a:off x="365125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375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283765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65126" y="1139721"/>
            <a:ext cx="8329613" cy="29866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050" b="1" baseline="0"/>
            </a:lvl1pPr>
            <a:lvl2pPr marL="128585" indent="-128585">
              <a:spcBef>
                <a:spcPts val="252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975"/>
            </a:lvl2pPr>
            <a:lvl3pPr marL="257169" indent="-128585">
              <a:spcBef>
                <a:spcPts val="252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386944" indent="-129776">
              <a:spcBef>
                <a:spcPts val="252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515528" indent="-128585">
              <a:spcBef>
                <a:spcPts val="252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365127" y="1528724"/>
            <a:ext cx="8347075" cy="3166203"/>
          </a:xfrm>
        </p:spPr>
        <p:txBody>
          <a:bodyPr/>
          <a:lstStyle>
            <a:lvl1pPr>
              <a:spcBef>
                <a:spcPts val="450"/>
              </a:spcBef>
              <a:defRPr sz="975"/>
            </a:lvl1pPr>
            <a:lvl2pPr>
              <a:spcBef>
                <a:spcPts val="450"/>
              </a:spcBef>
              <a:defRPr sz="975"/>
            </a:lvl2pPr>
            <a:lvl3pPr>
              <a:spcBef>
                <a:spcPts val="450"/>
              </a:spcBef>
              <a:defRPr sz="900"/>
            </a:lvl3pPr>
            <a:lvl4pPr>
              <a:spcBef>
                <a:spcPts val="450"/>
              </a:spcBef>
              <a:defRPr sz="825"/>
            </a:lvl4pPr>
            <a:lvl5pPr>
              <a:spcBef>
                <a:spcPts val="450"/>
              </a:spcBef>
              <a:defRPr sz="7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5126" y="484693"/>
            <a:ext cx="8329613" cy="523183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  <p:sp>
        <p:nvSpPr>
          <p:cNvPr id="7" name="Footer Placeholder 3"/>
          <p:cNvSpPr txBox="1">
            <a:spLocks/>
          </p:cNvSpPr>
          <p:nvPr userDrawn="1"/>
        </p:nvSpPr>
        <p:spPr>
          <a:xfrm>
            <a:off x="365125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375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328389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665539" y="539496"/>
            <a:ext cx="5046662" cy="4151592"/>
          </a:xfrm>
        </p:spPr>
        <p:txBody>
          <a:bodyPr/>
          <a:lstStyle>
            <a:lvl1pPr>
              <a:spcBef>
                <a:spcPts val="450"/>
              </a:spcBef>
              <a:defRPr/>
            </a:lvl1pPr>
            <a:lvl2pPr>
              <a:spcBef>
                <a:spcPts val="450"/>
              </a:spcBef>
              <a:defRPr/>
            </a:lvl2pPr>
            <a:lvl3pPr>
              <a:spcBef>
                <a:spcPts val="450"/>
              </a:spcBef>
              <a:defRPr sz="900"/>
            </a:lvl3pPr>
            <a:lvl4pPr>
              <a:spcBef>
                <a:spcPts val="450"/>
              </a:spcBef>
              <a:defRPr/>
            </a:lvl4pPr>
            <a:lvl5pPr>
              <a:spcBef>
                <a:spcPts val="450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365125" y="484309"/>
            <a:ext cx="3170238" cy="646646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  <p:sp>
        <p:nvSpPr>
          <p:cNvPr id="7" name="Footer Placeholder 3"/>
          <p:cNvSpPr txBox="1">
            <a:spLocks/>
          </p:cNvSpPr>
          <p:nvPr userDrawn="1"/>
        </p:nvSpPr>
        <p:spPr>
          <a:xfrm>
            <a:off x="365125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500" kern="1200" spc="20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375" dirty="0"/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44870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7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4.xml"/><Relationship Id="rId21" Type="http://schemas.openxmlformats.org/officeDocument/2006/relationships/slideLayout" Target="../slideLayouts/slideLayout52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20" Type="http://schemas.openxmlformats.org/officeDocument/2006/relationships/slideLayout" Target="../slideLayouts/slideLayout51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24" Type="http://schemas.openxmlformats.org/officeDocument/2006/relationships/slideLayout" Target="../slideLayouts/slideLayout55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23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41.xml"/><Relationship Id="rId19" Type="http://schemas.openxmlformats.org/officeDocument/2006/relationships/slideLayout" Target="../slideLayouts/slideLayout50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Relationship Id="rId22" Type="http://schemas.openxmlformats.org/officeDocument/2006/relationships/slideLayout" Target="../slideLayouts/slideLayout5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18" Type="http://schemas.openxmlformats.org/officeDocument/2006/relationships/slideLayout" Target="../slideLayouts/slideLayout86.xml"/><Relationship Id="rId26" Type="http://schemas.openxmlformats.org/officeDocument/2006/relationships/theme" Target="../theme/theme5.xml"/><Relationship Id="rId3" Type="http://schemas.openxmlformats.org/officeDocument/2006/relationships/slideLayout" Target="../slideLayouts/slideLayout71.xml"/><Relationship Id="rId21" Type="http://schemas.openxmlformats.org/officeDocument/2006/relationships/slideLayout" Target="../slideLayouts/slideLayout89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17" Type="http://schemas.openxmlformats.org/officeDocument/2006/relationships/slideLayout" Target="../slideLayouts/slideLayout85.xml"/><Relationship Id="rId25" Type="http://schemas.openxmlformats.org/officeDocument/2006/relationships/slideLayout" Target="../slideLayouts/slideLayout93.xml"/><Relationship Id="rId2" Type="http://schemas.openxmlformats.org/officeDocument/2006/relationships/slideLayout" Target="../slideLayouts/slideLayout70.xml"/><Relationship Id="rId16" Type="http://schemas.openxmlformats.org/officeDocument/2006/relationships/slideLayout" Target="../slideLayouts/slideLayout84.xml"/><Relationship Id="rId20" Type="http://schemas.openxmlformats.org/officeDocument/2006/relationships/slideLayout" Target="../slideLayouts/slideLayout88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24" Type="http://schemas.openxmlformats.org/officeDocument/2006/relationships/slideLayout" Target="../slideLayouts/slideLayout92.xml"/><Relationship Id="rId5" Type="http://schemas.openxmlformats.org/officeDocument/2006/relationships/slideLayout" Target="../slideLayouts/slideLayout73.xml"/><Relationship Id="rId15" Type="http://schemas.openxmlformats.org/officeDocument/2006/relationships/slideLayout" Target="../slideLayouts/slideLayout83.xml"/><Relationship Id="rId23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78.xml"/><Relationship Id="rId19" Type="http://schemas.openxmlformats.org/officeDocument/2006/relationships/slideLayout" Target="../slideLayouts/slideLayout87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Relationship Id="rId22" Type="http://schemas.openxmlformats.org/officeDocument/2006/relationships/slideLayout" Target="../slideLayouts/slideLayout9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95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slideLayout" Target="../slideLayouts/slideLayout117.xml"/><Relationship Id="rId18" Type="http://schemas.openxmlformats.org/officeDocument/2006/relationships/slideLayout" Target="../slideLayouts/slideLayout122.xml"/><Relationship Id="rId26" Type="http://schemas.openxmlformats.org/officeDocument/2006/relationships/theme" Target="../theme/theme7.xml"/><Relationship Id="rId3" Type="http://schemas.openxmlformats.org/officeDocument/2006/relationships/slideLayout" Target="../slideLayouts/slideLayout107.xml"/><Relationship Id="rId21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17" Type="http://schemas.openxmlformats.org/officeDocument/2006/relationships/slideLayout" Target="../slideLayouts/slideLayout121.xml"/><Relationship Id="rId25" Type="http://schemas.openxmlformats.org/officeDocument/2006/relationships/slideLayout" Target="../slideLayouts/slideLayout129.xml"/><Relationship Id="rId2" Type="http://schemas.openxmlformats.org/officeDocument/2006/relationships/slideLayout" Target="../slideLayouts/slideLayout106.xml"/><Relationship Id="rId16" Type="http://schemas.openxmlformats.org/officeDocument/2006/relationships/slideLayout" Target="../slideLayouts/slideLayout120.xml"/><Relationship Id="rId20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24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109.xml"/><Relationship Id="rId15" Type="http://schemas.openxmlformats.org/officeDocument/2006/relationships/slideLayout" Target="../slideLayouts/slideLayout119.xml"/><Relationship Id="rId23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14.xml"/><Relationship Id="rId19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Relationship Id="rId22" Type="http://schemas.openxmlformats.org/officeDocument/2006/relationships/slideLayout" Target="../slideLayouts/slideLayout12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32.xml"/><Relationship Id="rId7" Type="http://schemas.openxmlformats.org/officeDocument/2006/relationships/slideLayout" Target="../slideLayouts/slideLayout136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131.xml"/><Relationship Id="rId1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35.xml"/><Relationship Id="rId11" Type="http://schemas.openxmlformats.org/officeDocument/2006/relationships/slideLayout" Target="../slideLayouts/slideLayout140.xml"/><Relationship Id="rId5" Type="http://schemas.openxmlformats.org/officeDocument/2006/relationships/slideLayout" Target="../slideLayouts/slideLayout134.xml"/><Relationship Id="rId10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133.xml"/><Relationship Id="rId9" Type="http://schemas.openxmlformats.org/officeDocument/2006/relationships/slideLayout" Target="../slideLayouts/slideLayout1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3" y="530452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 dirty="0"/>
              <a:t>© Bill &amp; Melinda Gates Foundation      |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26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5125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480724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3775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47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8" r:id="rId11"/>
    <p:sldLayoutId id="2147483849" r:id="rId12"/>
    <p:sldLayoutId id="2147483850" r:id="rId13"/>
    <p:sldLayoutId id="2147483851" r:id="rId14"/>
    <p:sldLayoutId id="2147483852" r:id="rId15"/>
    <p:sldLayoutId id="2147483853" r:id="rId16"/>
    <p:sldLayoutId id="2147483842" r:id="rId17"/>
    <p:sldLayoutId id="2147483824" r:id="rId18"/>
    <p:sldLayoutId id="2147483825" r:id="rId19"/>
    <p:sldLayoutId id="2147483843" r:id="rId20"/>
    <p:sldLayoutId id="2147483844" r:id="rId21"/>
    <p:sldLayoutId id="2147483875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63" indent="-182563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88" indent="-149225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400050" algn="l"/>
        </a:tabLst>
        <a:defRPr sz="12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350" indent="-171450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800" indent="-171450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00090" y="347536"/>
            <a:ext cx="7983537" cy="3739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0090" y="1178578"/>
            <a:ext cx="7983537" cy="336946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806848"/>
            <a:ext cx="2133600" cy="273844"/>
          </a:xfrm>
          <a:prstGeom prst="rect">
            <a:avLst/>
          </a:prstGeom>
        </p:spPr>
        <p:txBody>
          <a:bodyPr vert="horz" lIns="91198" tIns="45600" rIns="91198" bIns="45600" rtlCol="0" anchor="ctr"/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pPr defTabSz="683986"/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45382" y="4807466"/>
            <a:ext cx="2306211" cy="273844"/>
          </a:xfrm>
          <a:prstGeom prst="rect">
            <a:avLst/>
          </a:prstGeom>
          <a:noFill/>
        </p:spPr>
        <p:txBody>
          <a:bodyPr vert="horz" lIns="91198" tIns="45600" rIns="91198" bIns="45600" rtlCol="0" anchor="ctr"/>
          <a:lstStyle>
            <a:lvl1pPr algn="l">
              <a:defRPr sz="600">
                <a:solidFill>
                  <a:schemeClr val="bg1"/>
                </a:solidFill>
              </a:defRPr>
            </a:lvl1pPr>
          </a:lstStyle>
          <a:p>
            <a:pPr defTabSz="683986"/>
            <a:r>
              <a:rPr lang="en-US">
                <a:solidFill>
                  <a:srgbClr val="FFFFFF"/>
                </a:solidFill>
              </a:rPr>
              <a:t>Bill &amp; Melinda Gates Foundation|Confidential Material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94192" y="4809050"/>
            <a:ext cx="384048" cy="273844"/>
          </a:xfrm>
          <a:prstGeom prst="rect">
            <a:avLst/>
          </a:prstGeom>
        </p:spPr>
        <p:txBody>
          <a:bodyPr vert="horz" lIns="91198" tIns="45600" rIns="91198" bIns="45600" rtlCol="0" anchor="ctr"/>
          <a:lstStyle>
            <a:lvl1pPr algn="r">
              <a:defRPr sz="750">
                <a:solidFill>
                  <a:schemeClr val="bg1"/>
                </a:solidFill>
              </a:defRPr>
            </a:lvl1pPr>
          </a:lstStyle>
          <a:p>
            <a:pPr defTabSz="683986"/>
            <a:fld id="{6FE27C41-116F-4622-B250-F19A9812A205}" type="slidenum">
              <a:rPr lang="en-US" smtClean="0">
                <a:solidFill>
                  <a:srgbClr val="FFFFFF"/>
                </a:solidFill>
              </a:rPr>
              <a:pPr defTabSz="683986"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49365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3" r:id="rId2"/>
    <p:sldLayoutId id="2147483864" r:id="rId3"/>
    <p:sldLayoutId id="2147483865" r:id="rId4"/>
    <p:sldLayoutId id="2147483866" r:id="rId5"/>
    <p:sldLayoutId id="2147483867" r:id="rId6"/>
    <p:sldLayoutId id="2147483868" r:id="rId7"/>
    <p:sldLayoutId id="2147483869" r:id="rId8"/>
    <p:sldLayoutId id="2147483870" r:id="rId9"/>
  </p:sldLayoutIdLst>
  <p:transition>
    <p:fade/>
  </p:transition>
  <p:hf hdr="0" dt="0"/>
  <p:txStyles>
    <p:titleStyle>
      <a:lvl1pPr algn="l" defTabSz="683957" rtl="0" eaLnBrk="1" latinLnBrk="0" hangingPunct="1">
        <a:lnSpc>
          <a:spcPct val="90000"/>
        </a:lnSpc>
        <a:spcBef>
          <a:spcPct val="0"/>
        </a:spcBef>
        <a:buNone/>
        <a:defRPr lang="en-US" sz="2700" b="1" kern="1200" cap="none" spc="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Arial" charset="0"/>
        </a:defRPr>
      </a:lvl1pPr>
    </p:titleStyle>
    <p:bodyStyle>
      <a:lvl1pPr marL="170993" indent="-170993" algn="l" defTabSz="683957" rtl="0" eaLnBrk="1" latinLnBrk="0" hangingPunct="1">
        <a:lnSpc>
          <a:spcPts val="1950"/>
        </a:lnSpc>
        <a:spcBef>
          <a:spcPts val="0"/>
        </a:spcBef>
        <a:spcAft>
          <a:spcPts val="300"/>
        </a:spcAft>
        <a:buClr>
          <a:schemeClr val="accent2"/>
        </a:buClr>
        <a:buFont typeface="Wingdings" pitchFamily="2" charset="2"/>
        <a:buChar char="§"/>
        <a:defRPr sz="1800" b="1" kern="120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341991" indent="-170993" algn="l" defTabSz="683957" rtl="0" eaLnBrk="1" latinLnBrk="0" hangingPunct="1">
        <a:lnSpc>
          <a:spcPts val="1800"/>
        </a:lnSpc>
        <a:spcBef>
          <a:spcPts val="0"/>
        </a:spcBef>
        <a:spcAft>
          <a:spcPts val="300"/>
        </a:spcAft>
        <a:buClr>
          <a:schemeClr val="accent2"/>
        </a:buClr>
        <a:buSzPct val="125000"/>
        <a:buFont typeface="Arial" pitchFamily="34" charset="0"/>
        <a:buChar char="•"/>
        <a:defRPr sz="1500" b="1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510615" indent="-168622" algn="l" defTabSz="683957" rtl="0" eaLnBrk="1" latinLnBrk="0" hangingPunct="1">
        <a:lnSpc>
          <a:spcPts val="1875"/>
        </a:lnSpc>
        <a:spcBef>
          <a:spcPts val="0"/>
        </a:spcBef>
        <a:spcAft>
          <a:spcPts val="300"/>
        </a:spcAft>
        <a:buClr>
          <a:schemeClr val="accent2"/>
        </a:buClr>
        <a:buSzPct val="90000"/>
        <a:buFont typeface="Arial" pitchFamily="34" charset="0"/>
        <a:buChar char="−"/>
        <a:defRPr sz="1350" b="1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598487" indent="-123497" algn="l" defTabSz="683957" rtl="0" eaLnBrk="1" latinLnBrk="0" hangingPunct="1">
        <a:lnSpc>
          <a:spcPts val="1650"/>
        </a:lnSpc>
        <a:spcBef>
          <a:spcPts val="0"/>
        </a:spcBef>
        <a:spcAft>
          <a:spcPts val="0"/>
        </a:spcAft>
        <a:buClr>
          <a:schemeClr val="accent6"/>
        </a:buClr>
        <a:buSzPct val="90000"/>
        <a:buFont typeface="Arial" pitchFamily="34" charset="0"/>
        <a:buChar char="◊"/>
        <a:defRPr sz="1200" b="1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731484" indent="-132998" algn="l" defTabSz="683957" rtl="0" eaLnBrk="1" latinLnBrk="0" hangingPunct="1">
        <a:lnSpc>
          <a:spcPts val="1500"/>
        </a:lnSpc>
        <a:spcBef>
          <a:spcPts val="0"/>
        </a:spcBef>
        <a:spcAft>
          <a:spcPts val="0"/>
        </a:spcAft>
        <a:buClr>
          <a:schemeClr val="accent6"/>
        </a:buClr>
        <a:buSzPct val="90000"/>
        <a:buFont typeface="Arial" pitchFamily="34" charset="0"/>
        <a:buChar char="◊"/>
        <a:defRPr sz="1050" b="1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1880884" indent="-170988" algn="l" defTabSz="68395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2862" indent="-170988" algn="l" defTabSz="68395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64841" indent="-170988" algn="l" defTabSz="68395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06821" indent="-170988" algn="l" defTabSz="68395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39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1977" algn="l" defTabSz="6839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3957" algn="l" defTabSz="6839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5938" algn="l" defTabSz="6839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67915" algn="l" defTabSz="6839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09894" algn="l" defTabSz="6839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1873" algn="l" defTabSz="6839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3851" algn="l" defTabSz="6839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35830" algn="l" defTabSz="68395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3" y="530452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 dirty="0"/>
              <a:t>© Bill &amp; Melinda Gates Foundation      |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26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5125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480724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57550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5" r:id="rId8"/>
    <p:sldLayoutId id="2147483886" r:id="rId9"/>
    <p:sldLayoutId id="2147483887" r:id="rId10"/>
    <p:sldLayoutId id="2147483888" r:id="rId11"/>
    <p:sldLayoutId id="2147483889" r:id="rId12"/>
    <p:sldLayoutId id="2147483890" r:id="rId13"/>
    <p:sldLayoutId id="2147483891" r:id="rId14"/>
    <p:sldLayoutId id="2147483892" r:id="rId15"/>
    <p:sldLayoutId id="2147483893" r:id="rId16"/>
    <p:sldLayoutId id="2147483894" r:id="rId17"/>
    <p:sldLayoutId id="2147483895" r:id="rId18"/>
    <p:sldLayoutId id="2147483896" r:id="rId19"/>
    <p:sldLayoutId id="2147483897" r:id="rId20"/>
    <p:sldLayoutId id="2147483898" r:id="rId21"/>
    <p:sldLayoutId id="2147483899" r:id="rId22"/>
    <p:sldLayoutId id="2147483900" r:id="rId23"/>
    <p:sldLayoutId id="2147483901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63" indent="-182563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88" indent="-149225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400050" algn="l"/>
        </a:tabLst>
        <a:defRPr sz="12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350" indent="-171450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800" indent="-171450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4" y="530454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38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8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328" spc="11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 defTabSz="453863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28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328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453863"/>
            <a:fld id="{D3F7C509-FEEF-45D3-B896-7C07814C0C13}" type="slidenum">
              <a:rPr lang="en-US" smtClean="0">
                <a:solidFill>
                  <a:srgbClr val="000000"/>
                </a:solidFill>
              </a:rPr>
              <a:pPr defTabSz="45386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5127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478372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3599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5" r:id="rId1"/>
    <p:sldLayoutId id="2147483906" r:id="rId2"/>
    <p:sldLayoutId id="2147483907" r:id="rId3"/>
    <p:sldLayoutId id="2147483908" r:id="rId4"/>
    <p:sldLayoutId id="2147483909" r:id="rId5"/>
    <p:sldLayoutId id="2147483910" r:id="rId6"/>
    <p:sldLayoutId id="2147483911" r:id="rId7"/>
    <p:sldLayoutId id="2147483912" r:id="rId8"/>
    <p:sldLayoutId id="2147483913" r:id="rId9"/>
    <p:sldLayoutId id="2147483914" r:id="rId10"/>
    <p:sldLayoutId id="2147483915" r:id="rId11"/>
    <p:sldLayoutId id="2147483916" r:id="rId12"/>
    <p:sldLayoutId id="2147483917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499236" rtl="0" eaLnBrk="1" latinLnBrk="0" hangingPunct="1">
        <a:lnSpc>
          <a:spcPts val="1255"/>
        </a:lnSpc>
        <a:spcBef>
          <a:spcPct val="0"/>
        </a:spcBef>
        <a:buNone/>
        <a:defRPr sz="1255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499236" rtl="0" eaLnBrk="1" latinLnBrk="0" hangingPunct="1">
        <a:spcBef>
          <a:spcPts val="328"/>
        </a:spcBef>
        <a:buClr>
          <a:srgbClr val="2F85AA"/>
        </a:buClr>
        <a:buFont typeface="Wingdings" pitchFamily="2" charset="2"/>
        <a:buNone/>
        <a:defRPr sz="764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99674" indent="-99674" algn="l" defTabSz="499236" rtl="0" eaLnBrk="1" latinLnBrk="0" hangingPunct="1">
        <a:spcBef>
          <a:spcPts val="328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71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188081" indent="-81473" algn="l" defTabSz="499236" rtl="0" eaLnBrk="1" latinLnBrk="0" hangingPunct="1">
        <a:spcBef>
          <a:spcPts val="328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218416" algn="l"/>
        </a:tabLst>
        <a:defRPr sz="656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280820" indent="-93607" algn="l" defTabSz="499236" rtl="0" eaLnBrk="1" latinLnBrk="0" hangingPunct="1">
        <a:spcBef>
          <a:spcPts val="328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601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374427" indent="-93607" algn="l" defTabSz="499236" rtl="0" eaLnBrk="1" latinLnBrk="0" hangingPunct="1">
        <a:spcBef>
          <a:spcPts val="328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601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1372900" indent="-124809" algn="l" defTabSz="499236" rtl="0" eaLnBrk="1" latinLnBrk="0" hangingPunct="1">
        <a:spcBef>
          <a:spcPct val="20000"/>
        </a:spcBef>
        <a:buFont typeface="Arial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6pPr>
      <a:lvl7pPr marL="1622518" indent="-124809" algn="l" defTabSz="499236" rtl="0" eaLnBrk="1" latinLnBrk="0" hangingPunct="1">
        <a:spcBef>
          <a:spcPct val="20000"/>
        </a:spcBef>
        <a:buFont typeface="Arial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7pPr>
      <a:lvl8pPr marL="1872137" indent="-124809" algn="l" defTabSz="499236" rtl="0" eaLnBrk="1" latinLnBrk="0" hangingPunct="1">
        <a:spcBef>
          <a:spcPct val="20000"/>
        </a:spcBef>
        <a:buFont typeface="Arial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8pPr>
      <a:lvl9pPr marL="2121754" indent="-124809" algn="l" defTabSz="499236" rtl="0" eaLnBrk="1" latinLnBrk="0" hangingPunct="1">
        <a:spcBef>
          <a:spcPct val="20000"/>
        </a:spcBef>
        <a:buFont typeface="Arial" pitchFamily="34" charset="0"/>
        <a:buChar char="•"/>
        <a:defRPr sz="109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99236" rtl="0" eaLnBrk="1" latinLnBrk="0" hangingPunct="1">
        <a:defRPr sz="982" kern="1200">
          <a:solidFill>
            <a:schemeClr val="tx1"/>
          </a:solidFill>
          <a:latin typeface="+mn-lt"/>
          <a:ea typeface="+mn-ea"/>
          <a:cs typeface="+mn-cs"/>
        </a:defRPr>
      </a:lvl1pPr>
      <a:lvl2pPr marL="249619" algn="l" defTabSz="499236" rtl="0" eaLnBrk="1" latinLnBrk="0" hangingPunct="1">
        <a:defRPr sz="982" kern="1200">
          <a:solidFill>
            <a:schemeClr val="tx1"/>
          </a:solidFill>
          <a:latin typeface="+mn-lt"/>
          <a:ea typeface="+mn-ea"/>
          <a:cs typeface="+mn-cs"/>
        </a:defRPr>
      </a:lvl2pPr>
      <a:lvl3pPr marL="499236" algn="l" defTabSz="499236" rtl="0" eaLnBrk="1" latinLnBrk="0" hangingPunct="1">
        <a:defRPr sz="982" kern="1200">
          <a:solidFill>
            <a:schemeClr val="tx1"/>
          </a:solidFill>
          <a:latin typeface="+mn-lt"/>
          <a:ea typeface="+mn-ea"/>
          <a:cs typeface="+mn-cs"/>
        </a:defRPr>
      </a:lvl3pPr>
      <a:lvl4pPr marL="748854" algn="l" defTabSz="499236" rtl="0" eaLnBrk="1" latinLnBrk="0" hangingPunct="1">
        <a:defRPr sz="982" kern="1200">
          <a:solidFill>
            <a:schemeClr val="tx1"/>
          </a:solidFill>
          <a:latin typeface="+mn-lt"/>
          <a:ea typeface="+mn-ea"/>
          <a:cs typeface="+mn-cs"/>
        </a:defRPr>
      </a:lvl4pPr>
      <a:lvl5pPr marL="998473" algn="l" defTabSz="499236" rtl="0" eaLnBrk="1" latinLnBrk="0" hangingPunct="1">
        <a:defRPr sz="982" kern="1200">
          <a:solidFill>
            <a:schemeClr val="tx1"/>
          </a:solidFill>
          <a:latin typeface="+mn-lt"/>
          <a:ea typeface="+mn-ea"/>
          <a:cs typeface="+mn-cs"/>
        </a:defRPr>
      </a:lvl5pPr>
      <a:lvl6pPr marL="1248090" algn="l" defTabSz="499236" rtl="0" eaLnBrk="1" latinLnBrk="0" hangingPunct="1">
        <a:defRPr sz="982" kern="1200">
          <a:solidFill>
            <a:schemeClr val="tx1"/>
          </a:solidFill>
          <a:latin typeface="+mn-lt"/>
          <a:ea typeface="+mn-ea"/>
          <a:cs typeface="+mn-cs"/>
        </a:defRPr>
      </a:lvl6pPr>
      <a:lvl7pPr marL="1497709" algn="l" defTabSz="499236" rtl="0" eaLnBrk="1" latinLnBrk="0" hangingPunct="1">
        <a:defRPr sz="982" kern="1200">
          <a:solidFill>
            <a:schemeClr val="tx1"/>
          </a:solidFill>
          <a:latin typeface="+mn-lt"/>
          <a:ea typeface="+mn-ea"/>
          <a:cs typeface="+mn-cs"/>
        </a:defRPr>
      </a:lvl7pPr>
      <a:lvl8pPr marL="1747327" algn="l" defTabSz="499236" rtl="0" eaLnBrk="1" latinLnBrk="0" hangingPunct="1">
        <a:defRPr sz="982" kern="1200">
          <a:solidFill>
            <a:schemeClr val="tx1"/>
          </a:solidFill>
          <a:latin typeface="+mn-lt"/>
          <a:ea typeface="+mn-ea"/>
          <a:cs typeface="+mn-cs"/>
        </a:defRPr>
      </a:lvl8pPr>
      <a:lvl9pPr marL="1996945" algn="l" defTabSz="499236" rtl="0" eaLnBrk="1" latinLnBrk="0" hangingPunct="1">
        <a:defRPr sz="98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656014" y="531019"/>
            <a:ext cx="5049837" cy="4155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1" y="502444"/>
            <a:ext cx="201613" cy="20121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2925" y="4895851"/>
            <a:ext cx="2895600" cy="155972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450" spc="15" baseline="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© Bill &amp; Melinda Gates Foundation      |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20113" y="4895851"/>
            <a:ext cx="188912" cy="15478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45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17F907D9-4E8D-49EB-AEB7-BAF35F9499A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5126" y="4849416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481013"/>
            <a:ext cx="3170238" cy="64651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7408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9" r:id="rId1"/>
    <p:sldLayoutId id="2147483920" r:id="rId2"/>
    <p:sldLayoutId id="2147483921" r:id="rId3"/>
    <p:sldLayoutId id="2147483922" r:id="rId4"/>
    <p:sldLayoutId id="2147483923" r:id="rId5"/>
    <p:sldLayoutId id="2147483924" r:id="rId6"/>
    <p:sldLayoutId id="2147483925" r:id="rId7"/>
    <p:sldLayoutId id="2147483926" r:id="rId8"/>
    <p:sldLayoutId id="2147483927" r:id="rId9"/>
    <p:sldLayoutId id="2147483928" r:id="rId10"/>
    <p:sldLayoutId id="2147483929" r:id="rId11"/>
    <p:sldLayoutId id="2147483930" r:id="rId12"/>
    <p:sldLayoutId id="2147483931" r:id="rId13"/>
    <p:sldLayoutId id="2147483932" r:id="rId14"/>
    <p:sldLayoutId id="2147483933" r:id="rId15"/>
    <p:sldLayoutId id="2147483934" r:id="rId16"/>
    <p:sldLayoutId id="2147483935" r:id="rId17"/>
    <p:sldLayoutId id="2147483936" r:id="rId18"/>
    <p:sldLayoutId id="2147483937" r:id="rId19"/>
    <p:sldLayoutId id="2147483938" r:id="rId20"/>
    <p:sldLayoutId id="2147483939" r:id="rId21"/>
    <p:sldLayoutId id="2147483940" r:id="rId22"/>
    <p:sldLayoutId id="2147483941" r:id="rId23"/>
    <p:sldLayoutId id="2147483942" r:id="rId24"/>
    <p:sldLayoutId id="2147483943" r:id="rId25"/>
  </p:sldLayoutIdLst>
  <p:transition spd="med">
    <p:fade/>
  </p:transition>
  <p:hf hdr="0" dt="0"/>
  <p:txStyles>
    <p:titleStyle>
      <a:lvl1pPr algn="l" rtl="0" eaLnBrk="0" fontAlgn="base" hangingPunct="0">
        <a:lnSpc>
          <a:spcPts val="1725"/>
        </a:lnSpc>
        <a:spcBef>
          <a:spcPct val="0"/>
        </a:spcBef>
        <a:spcAft>
          <a:spcPct val="0"/>
        </a:spcAft>
        <a:defRPr sz="1725" kern="1200" cap="all">
          <a:solidFill>
            <a:srgbClr val="000000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lnSpc>
          <a:spcPts val="1725"/>
        </a:lnSpc>
        <a:spcBef>
          <a:spcPct val="0"/>
        </a:spcBef>
        <a:spcAft>
          <a:spcPct val="0"/>
        </a:spcAft>
        <a:defRPr sz="1725"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rtl="0" eaLnBrk="0" fontAlgn="base" hangingPunct="0">
        <a:lnSpc>
          <a:spcPts val="1725"/>
        </a:lnSpc>
        <a:spcBef>
          <a:spcPct val="0"/>
        </a:spcBef>
        <a:spcAft>
          <a:spcPct val="0"/>
        </a:spcAft>
        <a:defRPr sz="1725"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rtl="0" eaLnBrk="0" fontAlgn="base" hangingPunct="0">
        <a:lnSpc>
          <a:spcPts val="1725"/>
        </a:lnSpc>
        <a:spcBef>
          <a:spcPct val="0"/>
        </a:spcBef>
        <a:spcAft>
          <a:spcPct val="0"/>
        </a:spcAft>
        <a:defRPr sz="1725"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rtl="0" eaLnBrk="0" fontAlgn="base" hangingPunct="0">
        <a:lnSpc>
          <a:spcPts val="1725"/>
        </a:lnSpc>
        <a:spcBef>
          <a:spcPct val="0"/>
        </a:spcBef>
        <a:spcAft>
          <a:spcPct val="0"/>
        </a:spcAft>
        <a:defRPr sz="1725"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342900" algn="l" rtl="0" fontAlgn="base">
        <a:lnSpc>
          <a:spcPts val="1725"/>
        </a:lnSpc>
        <a:spcBef>
          <a:spcPct val="0"/>
        </a:spcBef>
        <a:spcAft>
          <a:spcPct val="0"/>
        </a:spcAft>
        <a:defRPr sz="1725"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685800" algn="l" rtl="0" fontAlgn="base">
        <a:lnSpc>
          <a:spcPts val="1725"/>
        </a:lnSpc>
        <a:spcBef>
          <a:spcPct val="0"/>
        </a:spcBef>
        <a:spcAft>
          <a:spcPct val="0"/>
        </a:spcAft>
        <a:defRPr sz="1725"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028700" algn="l" rtl="0" fontAlgn="base">
        <a:lnSpc>
          <a:spcPts val="1725"/>
        </a:lnSpc>
        <a:spcBef>
          <a:spcPct val="0"/>
        </a:spcBef>
        <a:spcAft>
          <a:spcPct val="0"/>
        </a:spcAft>
        <a:defRPr sz="1725"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371600" algn="l" rtl="0" fontAlgn="base">
        <a:lnSpc>
          <a:spcPts val="1725"/>
        </a:lnSpc>
        <a:spcBef>
          <a:spcPct val="0"/>
        </a:spcBef>
        <a:spcAft>
          <a:spcPct val="0"/>
        </a:spcAft>
        <a:defRPr sz="1725">
          <a:solidFill>
            <a:srgbClr val="000000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50"/>
        </a:spcBef>
        <a:spcAft>
          <a:spcPct val="0"/>
        </a:spcAft>
        <a:buClr>
          <a:srgbClr val="2F85AA"/>
        </a:buClr>
        <a:buFont typeface="Wingdings" panose="05000000000000000000" pitchFamily="2" charset="2"/>
        <a:defRPr sz="1050" kern="120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1pPr>
      <a:lvl2pPr marL="136922" indent="-136922" algn="l" rtl="0" eaLnBrk="0" fontAlgn="base" hangingPunct="0">
        <a:spcBef>
          <a:spcPts val="450"/>
        </a:spcBef>
        <a:spcAft>
          <a:spcPct val="0"/>
        </a:spcAft>
        <a:buClr>
          <a:srgbClr val="5393AB"/>
        </a:buClr>
        <a:buFont typeface="Wingdings" panose="05000000000000000000" pitchFamily="2" charset="2"/>
        <a:buChar char="§"/>
        <a:defRPr sz="975" kern="120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2pPr>
      <a:lvl3pPr marL="258366" indent="-111919" algn="l" rtl="0" eaLnBrk="0" fontAlgn="base" hangingPunct="0">
        <a:spcBef>
          <a:spcPts val="450"/>
        </a:spcBef>
        <a:spcAft>
          <a:spcPct val="0"/>
        </a:spcAft>
        <a:buClr>
          <a:srgbClr val="5393AB"/>
        </a:buClr>
        <a:buFont typeface="Arial" panose="020B0604020202020204" pitchFamily="34" charset="0"/>
        <a:buChar char="•"/>
        <a:tabLst>
          <a:tab pos="300038" algn="l"/>
        </a:tabLst>
        <a:defRPr sz="900" kern="120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3pPr>
      <a:lvl4pPr marL="385763" indent="-128588" algn="l" rtl="0" eaLnBrk="0" fontAlgn="base" hangingPunct="0">
        <a:spcBef>
          <a:spcPts val="450"/>
        </a:spcBef>
        <a:spcAft>
          <a:spcPct val="0"/>
        </a:spcAft>
        <a:buClr>
          <a:srgbClr val="5393AB"/>
        </a:buClr>
        <a:buFont typeface="Arial" panose="020B0604020202020204" pitchFamily="34" charset="0"/>
        <a:buChar char="-"/>
        <a:defRPr sz="825" kern="120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4pPr>
      <a:lvl5pPr marL="514350" indent="-128588" algn="l" rtl="0" eaLnBrk="0" fontAlgn="base" hangingPunct="0">
        <a:spcBef>
          <a:spcPts val="450"/>
        </a:spcBef>
        <a:spcAft>
          <a:spcPct val="0"/>
        </a:spcAft>
        <a:buClr>
          <a:srgbClr val="5393AB"/>
        </a:buClr>
        <a:buSzPct val="100000"/>
        <a:buFont typeface="Arial" panose="020B0604020202020204" pitchFamily="34" charset="0"/>
        <a:buChar char="◦"/>
        <a:defRPr sz="825" kern="120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4" y="530454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501984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450" spc="15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/>
              <a:t>© Bill &amp; Melinda Gates Foundation      |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27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45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5127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478372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1288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5" r:id="rId1"/>
    <p:sldLayoutId id="2147483946" r:id="rId2"/>
    <p:sldLayoutId id="2147483947" r:id="rId3"/>
    <p:sldLayoutId id="2147483948" r:id="rId4"/>
    <p:sldLayoutId id="2147483949" r:id="rId5"/>
    <p:sldLayoutId id="2147483950" r:id="rId6"/>
    <p:sldLayoutId id="2147483951" r:id="rId7"/>
    <p:sldLayoutId id="2147483952" r:id="rId8"/>
    <p:sldLayoutId id="2147483953" r:id="rId9"/>
    <p:sldLayoutId id="2147483954" r:id="rId10"/>
    <p:sldLayoutId id="2147483955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685784" rtl="0" eaLnBrk="1" latinLnBrk="0" hangingPunct="1">
        <a:lnSpc>
          <a:spcPts val="1725"/>
        </a:lnSpc>
        <a:spcBef>
          <a:spcPct val="0"/>
        </a:spcBef>
        <a:buNone/>
        <a:defRPr sz="1725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685784" rtl="0" eaLnBrk="1" latinLnBrk="0" hangingPunct="1">
        <a:spcBef>
          <a:spcPts val="450"/>
        </a:spcBef>
        <a:buClr>
          <a:srgbClr val="2F85AA"/>
        </a:buClr>
        <a:buFont typeface="Wingdings" pitchFamily="2" charset="2"/>
        <a:buNone/>
        <a:defRPr sz="105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36919" indent="-136919" algn="l" defTabSz="685784" rtl="0" eaLnBrk="1" latinLnBrk="0" hangingPunct="1">
        <a:spcBef>
          <a:spcPts val="45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975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258360" indent="-111917" algn="l" defTabSz="685784" rtl="0" eaLnBrk="1" latinLnBrk="0" hangingPunct="1">
        <a:spcBef>
          <a:spcPts val="45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300030" algn="l"/>
        </a:tabLst>
        <a:defRPr sz="9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385753" indent="-128585" algn="l" defTabSz="685784" rtl="0" eaLnBrk="1" latinLnBrk="0" hangingPunct="1">
        <a:spcBef>
          <a:spcPts val="45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825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514337" indent="-128585" algn="l" defTabSz="685784" rtl="0" eaLnBrk="1" latinLnBrk="0" hangingPunct="1">
        <a:spcBef>
          <a:spcPts val="45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825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1885903" indent="-171446" algn="l" defTabSz="68578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4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4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4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3" y="530452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 dirty="0"/>
              <a:t>© Bill &amp; Melinda Gates Foundation      |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26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5125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480724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3157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7" r:id="rId1"/>
    <p:sldLayoutId id="2147483958" r:id="rId2"/>
    <p:sldLayoutId id="2147483959" r:id="rId3"/>
    <p:sldLayoutId id="2147483960" r:id="rId4"/>
    <p:sldLayoutId id="2147483961" r:id="rId5"/>
    <p:sldLayoutId id="2147483962" r:id="rId6"/>
    <p:sldLayoutId id="2147483963" r:id="rId7"/>
    <p:sldLayoutId id="2147483964" r:id="rId8"/>
    <p:sldLayoutId id="2147483965" r:id="rId9"/>
    <p:sldLayoutId id="2147483966" r:id="rId10"/>
    <p:sldLayoutId id="2147483967" r:id="rId11"/>
    <p:sldLayoutId id="2147483968" r:id="rId12"/>
    <p:sldLayoutId id="2147483969" r:id="rId13"/>
    <p:sldLayoutId id="2147483970" r:id="rId14"/>
    <p:sldLayoutId id="2147483971" r:id="rId15"/>
    <p:sldLayoutId id="2147483972" r:id="rId16"/>
    <p:sldLayoutId id="2147483973" r:id="rId17"/>
    <p:sldLayoutId id="2147483974" r:id="rId18"/>
    <p:sldLayoutId id="2147483975" r:id="rId19"/>
    <p:sldLayoutId id="2147483976" r:id="rId20"/>
    <p:sldLayoutId id="2147483977" r:id="rId21"/>
    <p:sldLayoutId id="2147483978" r:id="rId22"/>
    <p:sldLayoutId id="2147483979" r:id="rId23"/>
    <p:sldLayoutId id="2147483980" r:id="rId24"/>
    <p:sldLayoutId id="2147483982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63" indent="-182563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88" indent="-149225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400050" algn="l"/>
        </a:tabLst>
        <a:defRPr sz="12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350" indent="-171450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800" indent="-171450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56013" y="530452"/>
            <a:ext cx="5049836" cy="415584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23564" y="4895959"/>
            <a:ext cx="2895600" cy="155598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spc="20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/>
            <a:r>
              <a:rPr lang="en-US"/>
              <a:t>© Bill &amp; Melinda Gates Foundation      |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19726" y="4895518"/>
            <a:ext cx="190083" cy="155598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6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D3F7C509-FEEF-45D3-B896-7C07814C0C1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5125" y="4848932"/>
            <a:ext cx="8340725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65125" y="478370"/>
            <a:ext cx="3170238" cy="64664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8916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  <p:sldLayoutId id="2147483988" r:id="rId5"/>
    <p:sldLayoutId id="2147483989" r:id="rId6"/>
    <p:sldLayoutId id="2147483990" r:id="rId7"/>
    <p:sldLayoutId id="2147483991" r:id="rId8"/>
    <p:sldLayoutId id="2147483992" r:id="rId9"/>
    <p:sldLayoutId id="2147483993" r:id="rId10"/>
    <p:sldLayoutId id="2147483994" r:id="rId11"/>
  </p:sldLayoutIdLst>
  <p:hf hdr="0" dt="0"/>
  <p:txStyles>
    <p:titleStyle>
      <a:lvl1pPr algn="l" defTabSz="914400" rtl="0" eaLnBrk="1" latinLnBrk="0" hangingPunct="1">
        <a:lnSpc>
          <a:spcPts val="2300"/>
        </a:lnSpc>
        <a:spcBef>
          <a:spcPct val="0"/>
        </a:spcBef>
        <a:buNone/>
        <a:defRPr sz="23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rgbClr val="2F85AA"/>
        </a:buClr>
        <a:buFont typeface="Wingdings" pitchFamily="2" charset="2"/>
        <a:buNone/>
        <a:defRPr sz="14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182563" indent="-182563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3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344488" indent="-149225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400050" algn="l"/>
        </a:tabLst>
        <a:defRPr sz="12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514350" indent="-171450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685800" indent="-171450" algn="l" defTabSz="914400" rtl="0" eaLnBrk="1" latinLnBrk="0" hangingPunct="1">
        <a:spcBef>
          <a:spcPts val="6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1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8.emf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2.jpg"/><Relationship Id="rId5" Type="http://schemas.openxmlformats.org/officeDocument/2006/relationships/image" Target="../media/image11.png"/><Relationship Id="rId4" Type="http://schemas.openxmlformats.org/officeDocument/2006/relationships/image" Target="../media/image10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9.xml"/><Relationship Id="rId5" Type="http://schemas.openxmlformats.org/officeDocument/2006/relationships/image" Target="../media/image14.jpe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solidFill>
                  <a:srgbClr val="C00000"/>
                </a:solidFill>
              </a:rPr>
              <a:t>scaling-up Non sewer sanitation</a:t>
            </a:r>
          </a:p>
        </p:txBody>
      </p:sp>
      <p:sp>
        <p:nvSpPr>
          <p:cNvPr id="11" name="Subtitle 10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Roshan Shrestha, PhD</a:t>
            </a:r>
          </a:p>
          <a:p>
            <a:r>
              <a:rPr lang="en-US" dirty="0"/>
              <a:t>Senior Program Officer/Technical Lead South Asia</a:t>
            </a:r>
          </a:p>
        </p:txBody>
      </p:sp>
      <p:sp>
        <p:nvSpPr>
          <p:cNvPr id="2" name="テキスト ボックス 1"/>
          <p:cNvSpPr txBox="1"/>
          <p:nvPr/>
        </p:nvSpPr>
        <p:spPr>
          <a:xfrm>
            <a:off x="7341326" y="94052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kumimoji="1" lang="ja-JP" altLang="en-US" sz="1400" dirty="0" smtClean="0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83892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Pentagon 54"/>
          <p:cNvSpPr/>
          <p:nvPr/>
        </p:nvSpPr>
        <p:spPr>
          <a:xfrm rot="10800000">
            <a:off x="2427340" y="1121999"/>
            <a:ext cx="3578100" cy="1087507"/>
          </a:xfrm>
          <a:prstGeom prst="homePlate">
            <a:avLst>
              <a:gd name="adj" fmla="val 52919"/>
            </a:avLst>
          </a:prstGeom>
          <a:gradFill>
            <a:gsLst>
              <a:gs pos="100000">
                <a:schemeClr val="accent3"/>
              </a:gs>
              <a:gs pos="23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Pentagon 53"/>
          <p:cNvSpPr/>
          <p:nvPr/>
        </p:nvSpPr>
        <p:spPr>
          <a:xfrm rot="10800000">
            <a:off x="2398714" y="3435999"/>
            <a:ext cx="3578100" cy="1087507"/>
          </a:xfrm>
          <a:prstGeom prst="homePlate">
            <a:avLst>
              <a:gd name="adj" fmla="val 52919"/>
            </a:avLst>
          </a:prstGeom>
          <a:gradFill>
            <a:gsLst>
              <a:gs pos="100000">
                <a:schemeClr val="bg2"/>
              </a:gs>
              <a:gs pos="23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0" name="Pentagon 39"/>
          <p:cNvSpPr/>
          <p:nvPr/>
        </p:nvSpPr>
        <p:spPr>
          <a:xfrm rot="10800000">
            <a:off x="2398283" y="2272209"/>
            <a:ext cx="3578100" cy="1087507"/>
          </a:xfrm>
          <a:prstGeom prst="homePlate">
            <a:avLst>
              <a:gd name="adj" fmla="val 52919"/>
            </a:avLst>
          </a:prstGeom>
          <a:gradFill>
            <a:gsLst>
              <a:gs pos="100000">
                <a:schemeClr val="accent4"/>
              </a:gs>
              <a:gs pos="23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Pentagon 47"/>
          <p:cNvSpPr/>
          <p:nvPr/>
        </p:nvSpPr>
        <p:spPr>
          <a:xfrm>
            <a:off x="960156" y="2300159"/>
            <a:ext cx="2083119" cy="341100"/>
          </a:xfrm>
          <a:prstGeom prst="homePlat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Pentagon 48"/>
          <p:cNvSpPr/>
          <p:nvPr/>
        </p:nvSpPr>
        <p:spPr>
          <a:xfrm>
            <a:off x="960156" y="2641259"/>
            <a:ext cx="2083119" cy="341100"/>
          </a:xfrm>
          <a:prstGeom prst="homePlat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Pentagon 49"/>
          <p:cNvSpPr/>
          <p:nvPr/>
        </p:nvSpPr>
        <p:spPr>
          <a:xfrm>
            <a:off x="960156" y="2979865"/>
            <a:ext cx="2083119" cy="341100"/>
          </a:xfrm>
          <a:prstGeom prst="homePlat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481933" y="2365941"/>
            <a:ext cx="1555713" cy="3463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defRPr sz="1100" b="1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inancing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1481933" y="2711471"/>
            <a:ext cx="1555713" cy="3463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defRPr sz="1100" b="1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apacity Building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1481933" y="3044188"/>
            <a:ext cx="1555713" cy="3463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defRPr sz="1100" b="1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usiness models</a:t>
            </a:r>
          </a:p>
        </p:txBody>
      </p:sp>
      <p:sp>
        <p:nvSpPr>
          <p:cNvPr id="43" name="Pentagon 42"/>
          <p:cNvSpPr/>
          <p:nvPr/>
        </p:nvSpPr>
        <p:spPr>
          <a:xfrm>
            <a:off x="1032201" y="3989703"/>
            <a:ext cx="2083119" cy="462359"/>
          </a:xfrm>
          <a:prstGeom prst="homePlate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1246641" y="4094472"/>
            <a:ext cx="1892695" cy="3463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>
              <a:defRPr sz="1100" b="1" i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ity wide investments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“bend the curve”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Bill &amp; Melinda Gates Foundation      |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F7C509-FEEF-45D3-B896-7C07814C0C13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65453" y="304333"/>
            <a:ext cx="8329613" cy="523183"/>
          </a:xfrm>
        </p:spPr>
        <p:txBody>
          <a:bodyPr/>
          <a:lstStyle/>
          <a:p>
            <a:r>
              <a:rPr lang="en-US" sz="2000" b="1" u="sng" dirty="0">
                <a:solidFill>
                  <a:srgbClr val="C00000"/>
                </a:solidFill>
              </a:rPr>
              <a:t>Theory of change</a:t>
            </a:r>
            <a:r>
              <a:rPr lang="en-US" sz="2000" dirty="0">
                <a:solidFill>
                  <a:srgbClr val="C00000"/>
                </a:solidFill>
              </a:rPr>
              <a:t>: We will focus investments to drive city-level change and replication to global scale</a:t>
            </a:r>
          </a:p>
        </p:txBody>
      </p:sp>
      <p:sp>
        <p:nvSpPr>
          <p:cNvPr id="6" name="Pentagon 5"/>
          <p:cNvSpPr/>
          <p:nvPr/>
        </p:nvSpPr>
        <p:spPr>
          <a:xfrm>
            <a:off x="6555867" y="1121998"/>
            <a:ext cx="2588133" cy="3393344"/>
          </a:xfrm>
          <a:prstGeom prst="homePlate">
            <a:avLst>
              <a:gd name="adj" fmla="val 18890"/>
            </a:avLst>
          </a:prstGeom>
          <a:gradFill flip="none" rotWithShape="1">
            <a:gsLst>
              <a:gs pos="78500">
                <a:srgbClr val="D9D4CE"/>
              </a:gs>
              <a:gs pos="12000">
                <a:schemeClr val="bg1"/>
              </a:gs>
              <a:gs pos="83000">
                <a:schemeClr val="accent5">
                  <a:lumMod val="45000"/>
                  <a:lumOff val="55000"/>
                </a:schemeClr>
              </a:gs>
              <a:gs pos="100000">
                <a:schemeClr val="accent5">
                  <a:lumMod val="30000"/>
                  <a:lumOff val="70000"/>
                </a:schemeClr>
              </a:gs>
            </a:gsLst>
            <a:lin ang="0" scaled="0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Pentagon 6"/>
          <p:cNvSpPr/>
          <p:nvPr/>
        </p:nvSpPr>
        <p:spPr>
          <a:xfrm>
            <a:off x="4815421" y="1121998"/>
            <a:ext cx="2686310" cy="3393343"/>
          </a:xfrm>
          <a:prstGeom prst="homePlate">
            <a:avLst>
              <a:gd name="adj" fmla="val 18890"/>
            </a:avLst>
          </a:prstGeom>
          <a:gradFill flip="none" rotWithShape="1">
            <a:gsLst>
              <a:gs pos="78500">
                <a:srgbClr val="D9D4CE"/>
              </a:gs>
              <a:gs pos="12000">
                <a:schemeClr val="bg1"/>
              </a:gs>
              <a:gs pos="83000">
                <a:schemeClr val="accent5">
                  <a:lumMod val="45000"/>
                  <a:lumOff val="55000"/>
                </a:schemeClr>
              </a:gs>
              <a:gs pos="100000">
                <a:schemeClr val="accent5">
                  <a:lumMod val="30000"/>
                  <a:lumOff val="70000"/>
                </a:schemeClr>
              </a:gs>
            </a:gsLst>
            <a:lin ang="0" scaled="0"/>
            <a:tileRect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289351" y="1242028"/>
            <a:ext cx="784344" cy="325312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reating demand for FSM and strong enabling environments at the national and municipal level will </a:t>
            </a:r>
            <a:r>
              <a:rPr kumimoji="0" lang="en-US" sz="1000" b="1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acilitate / accelerate the adoption of new OP, OI, and RT technologies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s they become available.</a:t>
            </a:r>
          </a:p>
        </p:txBody>
      </p:sp>
      <p:sp>
        <p:nvSpPr>
          <p:cNvPr id="14" name="Pentagon 13"/>
          <p:cNvSpPr/>
          <p:nvPr/>
        </p:nvSpPr>
        <p:spPr>
          <a:xfrm>
            <a:off x="928664" y="1098482"/>
            <a:ext cx="2063682" cy="490930"/>
          </a:xfrm>
          <a:prstGeom prst="homePlate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081243" y="1169567"/>
            <a:ext cx="3364209" cy="69056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lear accountable Ministry, National/ state political will, and policies and regulation, </a:t>
            </a:r>
            <a:r>
              <a:rPr kumimoji="0" lang="en-US" sz="9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ncl</a:t>
            </a: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recognition of sanitation as utility,  are necessary conditions for success</a:t>
            </a:r>
          </a:p>
          <a:p>
            <a:pPr marL="169863" marR="0" lvl="0" indent="-1174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unctioning and accountable institutions, National/ state sanitation policies and regulation;; robust measurement and enforcement; sustainable support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084141" y="2334053"/>
            <a:ext cx="3085012" cy="3463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14300" indent="-114300">
              <a:lnSpc>
                <a:spcPct val="90000"/>
              </a:lnSpc>
              <a:buFont typeface="Arial" panose="020B0604020202020204" pitchFamily="34" charset="0"/>
              <a:buChar char="•"/>
              <a:defRPr sz="900" i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o catalyze and sustain demand for effective FSM impact across the value chain, we will apply continuous innovation and then scale what works</a:t>
            </a:r>
          </a:p>
          <a:p>
            <a:pPr marL="341313" marR="0" lvl="0" indent="-11271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rovide actors along the value chain with knowledge, resources, tools, and capacity to overcome barriers to sustainable sanitation, by supporting behavior change and best practice sharing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084138" y="3529896"/>
            <a:ext cx="2892245" cy="3463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marL="114300" indent="-114300">
              <a:lnSpc>
                <a:spcPct val="90000"/>
              </a:lnSpc>
              <a:buFont typeface="Arial" panose="020B0604020202020204" pitchFamily="34" charset="0"/>
              <a:buChar char="•"/>
              <a:defRPr sz="900" i="1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ities today don’t need to wait for new technologies in order to improve sanitation; a utility model can be established to drive change </a:t>
            </a:r>
          </a:p>
          <a:p>
            <a:pPr marL="457200" marR="0" lvl="0" indent="-2286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Given sufficient guidance, capacity, and resources to implement, cities can use existing technologies under a utility model to support economically and environmentally sustainable sanitation plans</a:t>
            </a:r>
          </a:p>
        </p:txBody>
      </p:sp>
      <p:sp>
        <p:nvSpPr>
          <p:cNvPr id="38" name="Pentagon 37"/>
          <p:cNvSpPr/>
          <p:nvPr/>
        </p:nvSpPr>
        <p:spPr>
          <a:xfrm>
            <a:off x="85492" y="2309972"/>
            <a:ext cx="1439626" cy="990601"/>
          </a:xfrm>
          <a:prstGeom prst="homePlat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248561" y="2595882"/>
            <a:ext cx="910189" cy="3463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Innovate and Scale</a:t>
            </a:r>
          </a:p>
        </p:txBody>
      </p:sp>
      <p:sp>
        <p:nvSpPr>
          <p:cNvPr id="41" name="Pentagon 15"/>
          <p:cNvSpPr/>
          <p:nvPr/>
        </p:nvSpPr>
        <p:spPr>
          <a:xfrm>
            <a:off x="1029280" y="3590427"/>
            <a:ext cx="2054034" cy="341100"/>
          </a:xfrm>
          <a:prstGeom prst="homePlate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522729" y="3670330"/>
            <a:ext cx="1417325" cy="3463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anitation as Utility</a:t>
            </a:r>
          </a:p>
        </p:txBody>
      </p:sp>
      <p:sp>
        <p:nvSpPr>
          <p:cNvPr id="46" name="Pentagon 13"/>
          <p:cNvSpPr/>
          <p:nvPr/>
        </p:nvSpPr>
        <p:spPr>
          <a:xfrm>
            <a:off x="928663" y="1577684"/>
            <a:ext cx="2083119" cy="523044"/>
          </a:xfrm>
          <a:prstGeom prst="homePlate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1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197244" y="1109827"/>
            <a:ext cx="1692480" cy="5023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ccountabl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Govt institutions and political will</a:t>
            </a:r>
          </a:p>
        </p:txBody>
      </p:sp>
      <p:sp>
        <p:nvSpPr>
          <p:cNvPr id="34" name="Pentagon 33"/>
          <p:cNvSpPr/>
          <p:nvPr/>
        </p:nvSpPr>
        <p:spPr>
          <a:xfrm>
            <a:off x="84667" y="1075691"/>
            <a:ext cx="1439625" cy="1090135"/>
          </a:xfrm>
          <a:prstGeom prst="homePlate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6735" y="1406870"/>
            <a:ext cx="1267275" cy="3463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nabling Environment</a:t>
            </a:r>
          </a:p>
        </p:txBody>
      </p:sp>
      <p:sp>
        <p:nvSpPr>
          <p:cNvPr id="35" name="Pentagon 34"/>
          <p:cNvSpPr/>
          <p:nvPr/>
        </p:nvSpPr>
        <p:spPr>
          <a:xfrm>
            <a:off x="85492" y="3500240"/>
            <a:ext cx="1439625" cy="990601"/>
          </a:xfrm>
          <a:prstGeom prst="homePlate">
            <a:avLst/>
          </a:prstGeom>
          <a:solidFill>
            <a:schemeClr val="bg2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88786" y="3705759"/>
            <a:ext cx="1008457" cy="3463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algn="ctr">
              <a:defRPr sz="14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ities are the Unit of Change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7612146" y="1863341"/>
            <a:ext cx="1097663" cy="235190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7A6A55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ll human fecal waste is safely treated in the urban areas of Sub-Saharan Africa and South Asian Countries by transforming the way cities manage the sanitation value chain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1340981" y="1713959"/>
            <a:ext cx="1555713" cy="34636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SM Policy and Enforcement</a:t>
            </a:r>
          </a:p>
        </p:txBody>
      </p:sp>
    </p:spTree>
    <p:extLst>
      <p:ext uri="{BB962C8B-B14F-4D97-AF65-F5344CB8AC3E}">
        <p14:creationId xmlns:p14="http://schemas.microsoft.com/office/powerpoint/2010/main" val="40209122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 descr="Brian_West_Africa_images_finish.jpg"/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grpSp>
        <p:nvGrpSpPr>
          <p:cNvPr id="6" name="Group 5"/>
          <p:cNvGrpSpPr/>
          <p:nvPr/>
        </p:nvGrpSpPr>
        <p:grpSpPr>
          <a:xfrm>
            <a:off x="0" y="218813"/>
            <a:ext cx="3148717" cy="1530473"/>
            <a:chOff x="342866" y="1656727"/>
            <a:chExt cx="3292475" cy="2608333"/>
          </a:xfrm>
        </p:grpSpPr>
        <p:sp>
          <p:nvSpPr>
            <p:cNvPr id="7" name="Rectangle 6"/>
            <p:cNvSpPr/>
            <p:nvPr/>
          </p:nvSpPr>
          <p:spPr>
            <a:xfrm>
              <a:off x="342866" y="1656727"/>
              <a:ext cx="3292475" cy="2608333"/>
            </a:xfrm>
            <a:prstGeom prst="rect">
              <a:avLst/>
            </a:prstGeom>
            <a:solidFill>
              <a:schemeClr val="accent6">
                <a:alpha val="3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Rectangle 7"/>
            <p:cNvSpPr/>
            <p:nvPr/>
          </p:nvSpPr>
          <p:spPr>
            <a:xfrm>
              <a:off x="342866" y="1656727"/>
              <a:ext cx="3292475" cy="2608333"/>
            </a:xfrm>
            <a:prstGeom prst="rect">
              <a:avLst/>
            </a:prstGeom>
            <a:solidFill>
              <a:schemeClr val="accent6">
                <a:alpha val="3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9" name="TextBox 8"/>
          <p:cNvSpPr txBox="1"/>
          <p:nvPr/>
        </p:nvSpPr>
        <p:spPr>
          <a:xfrm>
            <a:off x="365125" y="402701"/>
            <a:ext cx="2386026" cy="41494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ts val="3100"/>
              </a:lnSpc>
            </a:pPr>
            <a:r>
              <a:rPr lang="en-US" sz="2300" b="1" spc="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</a:t>
            </a:r>
            <a:r>
              <a:rPr lang="en-US" sz="23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300" b="1" spc="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!</a:t>
            </a:r>
          </a:p>
          <a:p>
            <a:pPr algn="ctr">
              <a:lnSpc>
                <a:spcPts val="3100"/>
              </a:lnSpc>
            </a:pPr>
            <a:endParaRPr lang="en-US" sz="2300" b="1" spc="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3100"/>
              </a:lnSpc>
            </a:pPr>
            <a:r>
              <a:rPr lang="en-US" sz="2300" b="1" spc="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 &amp; A</a:t>
            </a:r>
          </a:p>
        </p:txBody>
      </p:sp>
      <p:sp>
        <p:nvSpPr>
          <p:cNvPr id="10" name="Rectangle 9"/>
          <p:cNvSpPr/>
          <p:nvPr/>
        </p:nvSpPr>
        <p:spPr>
          <a:xfrm>
            <a:off x="0" y="501982"/>
            <a:ext cx="201168" cy="201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8898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57752" y="1148984"/>
            <a:ext cx="1452057" cy="1728350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292303" y="1053235"/>
            <a:ext cx="6699713" cy="302393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Limited investment in Non-</a:t>
            </a:r>
            <a:r>
              <a:rPr lang="en-US" sz="1600" dirty="0" err="1"/>
              <a:t>sewered</a:t>
            </a:r>
            <a:r>
              <a:rPr lang="en-US" sz="1600" dirty="0"/>
              <a:t> sanitation (NSS) and FS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None of the South Asian countries had any policy and institutional frame to address NSS/FS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Limited understanding of NSS and FS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MDG era focus was only on access to basic sanitation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-1602512" y="484631"/>
            <a:ext cx="8329613" cy="523183"/>
          </a:xfrm>
        </p:spPr>
        <p:txBody>
          <a:bodyPr/>
          <a:lstStyle/>
          <a:p>
            <a:pPr algn="ctr"/>
            <a:r>
              <a:rPr lang="en-US" dirty="0">
                <a:solidFill>
                  <a:srgbClr val="C00000"/>
                </a:solidFill>
              </a:rPr>
              <a:t>Looking back - www 2013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61941" y="3049596"/>
            <a:ext cx="1447868" cy="1763501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3619301" y="1289050"/>
            <a:ext cx="45719" cy="457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en-US" sz="1400" dirty="0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7715" y="2667303"/>
            <a:ext cx="3492353" cy="196134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8744" y="2676266"/>
            <a:ext cx="2883272" cy="12723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3571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>
          <a:xfrm>
            <a:off x="5907341" y="4895959"/>
            <a:ext cx="2895600" cy="155598"/>
          </a:xfrm>
        </p:spPr>
        <p:txBody>
          <a:bodyPr/>
          <a:lstStyle/>
          <a:p>
            <a:pPr marL="0" marR="0" lvl="0" indent="0" algn="r" defTabSz="4538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8" b="0" i="0" u="none" strike="noStrike" kern="1200" cap="none" spc="1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Bill &amp; Melinda Gates Foundation      |</a:t>
            </a:r>
            <a:endParaRPr kumimoji="0" lang="en-US" sz="328" b="0" i="0" u="none" strike="noStrike" kern="1200" cap="none" spc="11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>
          <a:xfrm>
            <a:off x="8803505" y="4895518"/>
            <a:ext cx="190083" cy="155598"/>
          </a:xfrm>
        </p:spPr>
        <p:txBody>
          <a:bodyPr/>
          <a:lstStyle/>
          <a:p>
            <a:pPr marL="0" marR="0" lvl="0" indent="0" algn="r" defTabSz="4538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F7C509-FEEF-45D3-B896-7C07814C0C13}" type="slidenum">
              <a:rPr kumimoji="0" lang="en-US" sz="32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4538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328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1752930899"/>
              </p:ext>
            </p:extLst>
          </p:nvPr>
        </p:nvGraphicFramePr>
        <p:xfrm>
          <a:off x="322159" y="1381669"/>
          <a:ext cx="3743773" cy="266317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1822458" y="470536"/>
            <a:ext cx="433667" cy="2511238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anitation Trust fund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51783" y="1240583"/>
            <a:ext cx="2306824" cy="2031360"/>
          </a:xfrm>
          <a:prstGeom prst="rect">
            <a:avLst/>
          </a:prstGeom>
        </p:spPr>
      </p:pic>
      <p:sp>
        <p:nvSpPr>
          <p:cNvPr id="9" name="Title 4"/>
          <p:cNvSpPr txBox="1">
            <a:spLocks/>
          </p:cNvSpPr>
          <p:nvPr/>
        </p:nvSpPr>
        <p:spPr>
          <a:xfrm>
            <a:off x="440971" y="470536"/>
            <a:ext cx="8329613" cy="52318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300"/>
              </a:lnSpc>
              <a:spcBef>
                <a:spcPct val="0"/>
              </a:spcBef>
              <a:buNone/>
              <a:defRPr sz="2300" kern="1200" cap="all" baseline="0">
                <a:solidFill>
                  <a:schemeClr val="accent6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>
              <a:defRPr/>
            </a:pPr>
            <a:r>
              <a:rPr lang="en-US" dirty="0">
                <a:solidFill>
                  <a:srgbClr val="C00000"/>
                </a:solidFill>
              </a:rPr>
              <a:t>Today - www 2017</a:t>
            </a:r>
            <a:endParaRPr kumimoji="0" lang="en-US" sz="2300" b="0" i="0" u="none" strike="noStrike" kern="1200" cap="all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24999" y="1151043"/>
            <a:ext cx="3217156" cy="25373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100" i="1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Asian Development’s investment in NS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8235" y="1245734"/>
            <a:ext cx="2033921" cy="2452566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84045" y="3836833"/>
            <a:ext cx="9043464" cy="148600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Tx/>
              <a:buChar char="-"/>
            </a:pPr>
            <a:r>
              <a:rPr lang="en-US" sz="1400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FSM is now global agenda due to the SDG</a:t>
            </a:r>
          </a:p>
          <a:p>
            <a:pPr marL="285750" indent="-285750">
              <a:buFontTx/>
              <a:buChar char="-"/>
            </a:pPr>
            <a:r>
              <a:rPr lang="en-US" sz="1400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In case of South Asia, India, Bangladesh and Nepal has endorsed policies and institutional framework on FSM</a:t>
            </a:r>
          </a:p>
          <a:p>
            <a:pPr marL="285750" indent="-285750">
              <a:buFontTx/>
              <a:buChar char="-"/>
            </a:pPr>
            <a:r>
              <a:rPr lang="en-US" sz="1400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Several Cities have initiated FSM projects and developed city level policies </a:t>
            </a:r>
          </a:p>
          <a:p>
            <a:pPr marL="285750" indent="-285750">
              <a:buFontTx/>
              <a:buChar char="-"/>
            </a:pPr>
            <a:r>
              <a:rPr lang="en-US" sz="1400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Developments banks have increased investment in FSM</a:t>
            </a:r>
          </a:p>
          <a:p>
            <a:pPr marL="285750" indent="-285750">
              <a:buFontTx/>
              <a:buChar char="-"/>
            </a:pPr>
            <a:r>
              <a:rPr lang="en-US" sz="1400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Successful FSM projects in several cities in the region.</a:t>
            </a:r>
          </a:p>
          <a:p>
            <a:pPr marL="285750" indent="-285750">
              <a:buFontTx/>
              <a:buChar char="-"/>
            </a:pPr>
            <a:endParaRPr lang="en-US" sz="1400" dirty="0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1929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Treatment Blue"/>
          <p:cNvSpPr/>
          <p:nvPr/>
        </p:nvSpPr>
        <p:spPr>
          <a:xfrm>
            <a:off x="5845671" y="1464750"/>
            <a:ext cx="1280160" cy="292608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3" name="Transport Blue"/>
          <p:cNvSpPr/>
          <p:nvPr/>
        </p:nvSpPr>
        <p:spPr>
          <a:xfrm>
            <a:off x="4266463" y="1464751"/>
            <a:ext cx="1280160" cy="29260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4" name="Emptying Blue"/>
          <p:cNvSpPr/>
          <p:nvPr/>
        </p:nvSpPr>
        <p:spPr>
          <a:xfrm>
            <a:off x="2687255" y="1464751"/>
            <a:ext cx="1280160" cy="29260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33" name="Treatment Blue text"/>
          <p:cNvGrpSpPr/>
          <p:nvPr/>
        </p:nvGrpSpPr>
        <p:grpSpPr>
          <a:xfrm>
            <a:off x="6076463" y="1638358"/>
            <a:ext cx="818577" cy="104746"/>
            <a:chOff x="5437188" y="-819151"/>
            <a:chExt cx="1004888" cy="128588"/>
          </a:xfrm>
          <a:solidFill>
            <a:schemeClr val="accent3">
              <a:lumMod val="75000"/>
            </a:schemeClr>
          </a:solidFill>
        </p:grpSpPr>
        <p:sp>
          <p:nvSpPr>
            <p:cNvPr id="234" name="Freeform 33"/>
            <p:cNvSpPr>
              <a:spLocks/>
            </p:cNvSpPr>
            <p:nvPr/>
          </p:nvSpPr>
          <p:spPr bwMode="auto">
            <a:xfrm>
              <a:off x="5437188" y="-819151"/>
              <a:ext cx="92075" cy="128588"/>
            </a:xfrm>
            <a:custGeom>
              <a:avLst/>
              <a:gdLst>
                <a:gd name="T0" fmla="*/ 65 w 102"/>
                <a:gd name="T1" fmla="*/ 25 h 142"/>
                <a:gd name="T2" fmla="*/ 65 w 102"/>
                <a:gd name="T3" fmla="*/ 25 h 142"/>
                <a:gd name="T4" fmla="*/ 65 w 102"/>
                <a:gd name="T5" fmla="*/ 142 h 142"/>
                <a:gd name="T6" fmla="*/ 37 w 102"/>
                <a:gd name="T7" fmla="*/ 142 h 142"/>
                <a:gd name="T8" fmla="*/ 37 w 102"/>
                <a:gd name="T9" fmla="*/ 25 h 142"/>
                <a:gd name="T10" fmla="*/ 0 w 102"/>
                <a:gd name="T11" fmla="*/ 25 h 142"/>
                <a:gd name="T12" fmla="*/ 0 w 102"/>
                <a:gd name="T13" fmla="*/ 0 h 142"/>
                <a:gd name="T14" fmla="*/ 102 w 102"/>
                <a:gd name="T15" fmla="*/ 0 h 142"/>
                <a:gd name="T16" fmla="*/ 102 w 102"/>
                <a:gd name="T17" fmla="*/ 25 h 142"/>
                <a:gd name="T18" fmla="*/ 65 w 102"/>
                <a:gd name="T19" fmla="*/ 2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42">
                  <a:moveTo>
                    <a:pt x="65" y="25"/>
                  </a:moveTo>
                  <a:lnTo>
                    <a:pt x="65" y="25"/>
                  </a:lnTo>
                  <a:lnTo>
                    <a:pt x="65" y="142"/>
                  </a:lnTo>
                  <a:lnTo>
                    <a:pt x="37" y="142"/>
                  </a:lnTo>
                  <a:lnTo>
                    <a:pt x="37" y="25"/>
                  </a:lnTo>
                  <a:lnTo>
                    <a:pt x="0" y="25"/>
                  </a:lnTo>
                  <a:lnTo>
                    <a:pt x="0" y="0"/>
                  </a:lnTo>
                  <a:lnTo>
                    <a:pt x="102" y="0"/>
                  </a:lnTo>
                  <a:lnTo>
                    <a:pt x="102" y="25"/>
                  </a:lnTo>
                  <a:lnTo>
                    <a:pt x="65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5" name="Freeform 34"/>
            <p:cNvSpPr>
              <a:spLocks noEditPoints="1"/>
            </p:cNvSpPr>
            <p:nvPr/>
          </p:nvSpPr>
          <p:spPr bwMode="auto">
            <a:xfrm>
              <a:off x="5549900" y="-819151"/>
              <a:ext cx="95250" cy="128588"/>
            </a:xfrm>
            <a:custGeom>
              <a:avLst/>
              <a:gdLst>
                <a:gd name="T0" fmla="*/ 76 w 108"/>
                <a:gd name="T1" fmla="*/ 142 h 142"/>
                <a:gd name="T2" fmla="*/ 76 w 108"/>
                <a:gd name="T3" fmla="*/ 142 h 142"/>
                <a:gd name="T4" fmla="*/ 48 w 108"/>
                <a:gd name="T5" fmla="*/ 86 h 142"/>
                <a:gd name="T6" fmla="*/ 28 w 108"/>
                <a:gd name="T7" fmla="*/ 86 h 142"/>
                <a:gd name="T8" fmla="*/ 28 w 108"/>
                <a:gd name="T9" fmla="*/ 142 h 142"/>
                <a:gd name="T10" fmla="*/ 0 w 108"/>
                <a:gd name="T11" fmla="*/ 142 h 142"/>
                <a:gd name="T12" fmla="*/ 0 w 108"/>
                <a:gd name="T13" fmla="*/ 0 h 142"/>
                <a:gd name="T14" fmla="*/ 56 w 108"/>
                <a:gd name="T15" fmla="*/ 0 h 142"/>
                <a:gd name="T16" fmla="*/ 102 w 108"/>
                <a:gd name="T17" fmla="*/ 44 h 142"/>
                <a:gd name="T18" fmla="*/ 76 w 108"/>
                <a:gd name="T19" fmla="*/ 81 h 142"/>
                <a:gd name="T20" fmla="*/ 108 w 108"/>
                <a:gd name="T21" fmla="*/ 142 h 142"/>
                <a:gd name="T22" fmla="*/ 76 w 108"/>
                <a:gd name="T23" fmla="*/ 142 h 142"/>
                <a:gd name="T24" fmla="*/ 54 w 108"/>
                <a:gd name="T25" fmla="*/ 25 h 142"/>
                <a:gd name="T26" fmla="*/ 54 w 108"/>
                <a:gd name="T27" fmla="*/ 25 h 142"/>
                <a:gd name="T28" fmla="*/ 28 w 108"/>
                <a:gd name="T29" fmla="*/ 25 h 142"/>
                <a:gd name="T30" fmla="*/ 28 w 108"/>
                <a:gd name="T31" fmla="*/ 62 h 142"/>
                <a:gd name="T32" fmla="*/ 54 w 108"/>
                <a:gd name="T33" fmla="*/ 62 h 142"/>
                <a:gd name="T34" fmla="*/ 74 w 108"/>
                <a:gd name="T35" fmla="*/ 44 h 142"/>
                <a:gd name="T36" fmla="*/ 54 w 108"/>
                <a:gd name="T37" fmla="*/ 2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8" h="142">
                  <a:moveTo>
                    <a:pt x="76" y="142"/>
                  </a:moveTo>
                  <a:lnTo>
                    <a:pt x="76" y="142"/>
                  </a:lnTo>
                  <a:lnTo>
                    <a:pt x="48" y="86"/>
                  </a:lnTo>
                  <a:lnTo>
                    <a:pt x="28" y="86"/>
                  </a:lnTo>
                  <a:lnTo>
                    <a:pt x="28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56" y="0"/>
                  </a:lnTo>
                  <a:cubicBezTo>
                    <a:pt x="85" y="0"/>
                    <a:pt x="102" y="20"/>
                    <a:pt x="102" y="44"/>
                  </a:cubicBezTo>
                  <a:cubicBezTo>
                    <a:pt x="102" y="64"/>
                    <a:pt x="90" y="76"/>
                    <a:pt x="76" y="81"/>
                  </a:cubicBezTo>
                  <a:lnTo>
                    <a:pt x="108" y="142"/>
                  </a:lnTo>
                  <a:lnTo>
                    <a:pt x="76" y="142"/>
                  </a:lnTo>
                  <a:close/>
                  <a:moveTo>
                    <a:pt x="54" y="25"/>
                  </a:moveTo>
                  <a:lnTo>
                    <a:pt x="54" y="25"/>
                  </a:lnTo>
                  <a:lnTo>
                    <a:pt x="28" y="25"/>
                  </a:lnTo>
                  <a:lnTo>
                    <a:pt x="28" y="62"/>
                  </a:lnTo>
                  <a:lnTo>
                    <a:pt x="54" y="62"/>
                  </a:lnTo>
                  <a:cubicBezTo>
                    <a:pt x="66" y="62"/>
                    <a:pt x="74" y="55"/>
                    <a:pt x="74" y="44"/>
                  </a:cubicBezTo>
                  <a:cubicBezTo>
                    <a:pt x="74" y="33"/>
                    <a:pt x="66" y="25"/>
                    <a:pt x="54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6" name="Freeform 35"/>
            <p:cNvSpPr>
              <a:spLocks/>
            </p:cNvSpPr>
            <p:nvPr/>
          </p:nvSpPr>
          <p:spPr bwMode="auto">
            <a:xfrm>
              <a:off x="5665788" y="-819151"/>
              <a:ext cx="82550" cy="128588"/>
            </a:xfrm>
            <a:custGeom>
              <a:avLst/>
              <a:gdLst>
                <a:gd name="T0" fmla="*/ 0 w 93"/>
                <a:gd name="T1" fmla="*/ 142 h 142"/>
                <a:gd name="T2" fmla="*/ 0 w 93"/>
                <a:gd name="T3" fmla="*/ 142 h 142"/>
                <a:gd name="T4" fmla="*/ 0 w 93"/>
                <a:gd name="T5" fmla="*/ 0 h 142"/>
                <a:gd name="T6" fmla="*/ 93 w 93"/>
                <a:gd name="T7" fmla="*/ 0 h 142"/>
                <a:gd name="T8" fmla="*/ 93 w 93"/>
                <a:gd name="T9" fmla="*/ 25 h 142"/>
                <a:gd name="T10" fmla="*/ 27 w 93"/>
                <a:gd name="T11" fmla="*/ 25 h 142"/>
                <a:gd name="T12" fmla="*/ 27 w 93"/>
                <a:gd name="T13" fmla="*/ 58 h 142"/>
                <a:gd name="T14" fmla="*/ 84 w 93"/>
                <a:gd name="T15" fmla="*/ 58 h 142"/>
                <a:gd name="T16" fmla="*/ 84 w 93"/>
                <a:gd name="T17" fmla="*/ 83 h 142"/>
                <a:gd name="T18" fmla="*/ 27 w 93"/>
                <a:gd name="T19" fmla="*/ 83 h 142"/>
                <a:gd name="T20" fmla="*/ 27 w 93"/>
                <a:gd name="T21" fmla="*/ 118 h 142"/>
                <a:gd name="T22" fmla="*/ 93 w 93"/>
                <a:gd name="T23" fmla="*/ 118 h 142"/>
                <a:gd name="T24" fmla="*/ 93 w 93"/>
                <a:gd name="T25" fmla="*/ 142 h 142"/>
                <a:gd name="T26" fmla="*/ 0 w 93"/>
                <a:gd name="T27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3" h="142">
                  <a:moveTo>
                    <a:pt x="0" y="142"/>
                  </a:moveTo>
                  <a:lnTo>
                    <a:pt x="0" y="142"/>
                  </a:lnTo>
                  <a:lnTo>
                    <a:pt x="0" y="0"/>
                  </a:lnTo>
                  <a:lnTo>
                    <a:pt x="93" y="0"/>
                  </a:lnTo>
                  <a:lnTo>
                    <a:pt x="93" y="25"/>
                  </a:lnTo>
                  <a:lnTo>
                    <a:pt x="27" y="25"/>
                  </a:lnTo>
                  <a:lnTo>
                    <a:pt x="27" y="58"/>
                  </a:lnTo>
                  <a:lnTo>
                    <a:pt x="84" y="58"/>
                  </a:lnTo>
                  <a:lnTo>
                    <a:pt x="84" y="83"/>
                  </a:lnTo>
                  <a:lnTo>
                    <a:pt x="27" y="83"/>
                  </a:lnTo>
                  <a:lnTo>
                    <a:pt x="27" y="118"/>
                  </a:lnTo>
                  <a:lnTo>
                    <a:pt x="93" y="118"/>
                  </a:lnTo>
                  <a:lnTo>
                    <a:pt x="93" y="142"/>
                  </a:lnTo>
                  <a:lnTo>
                    <a:pt x="0" y="1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7" name="Freeform 36"/>
            <p:cNvSpPr>
              <a:spLocks noEditPoints="1"/>
            </p:cNvSpPr>
            <p:nvPr/>
          </p:nvSpPr>
          <p:spPr bwMode="auto">
            <a:xfrm>
              <a:off x="5764213" y="-819151"/>
              <a:ext cx="112713" cy="128588"/>
            </a:xfrm>
            <a:custGeom>
              <a:avLst/>
              <a:gdLst>
                <a:gd name="T0" fmla="*/ 97 w 126"/>
                <a:gd name="T1" fmla="*/ 142 h 142"/>
                <a:gd name="T2" fmla="*/ 97 w 126"/>
                <a:gd name="T3" fmla="*/ 142 h 142"/>
                <a:gd name="T4" fmla="*/ 89 w 126"/>
                <a:gd name="T5" fmla="*/ 117 h 142"/>
                <a:gd name="T6" fmla="*/ 38 w 126"/>
                <a:gd name="T7" fmla="*/ 117 h 142"/>
                <a:gd name="T8" fmla="*/ 29 w 126"/>
                <a:gd name="T9" fmla="*/ 142 h 142"/>
                <a:gd name="T10" fmla="*/ 0 w 126"/>
                <a:gd name="T11" fmla="*/ 142 h 142"/>
                <a:gd name="T12" fmla="*/ 52 w 126"/>
                <a:gd name="T13" fmla="*/ 0 h 142"/>
                <a:gd name="T14" fmla="*/ 74 w 126"/>
                <a:gd name="T15" fmla="*/ 0 h 142"/>
                <a:gd name="T16" fmla="*/ 126 w 126"/>
                <a:gd name="T17" fmla="*/ 142 h 142"/>
                <a:gd name="T18" fmla="*/ 97 w 126"/>
                <a:gd name="T19" fmla="*/ 142 h 142"/>
                <a:gd name="T20" fmla="*/ 64 w 126"/>
                <a:gd name="T21" fmla="*/ 42 h 142"/>
                <a:gd name="T22" fmla="*/ 64 w 126"/>
                <a:gd name="T23" fmla="*/ 42 h 142"/>
                <a:gd name="T24" fmla="*/ 46 w 126"/>
                <a:gd name="T25" fmla="*/ 94 h 142"/>
                <a:gd name="T26" fmla="*/ 81 w 126"/>
                <a:gd name="T27" fmla="*/ 94 h 142"/>
                <a:gd name="T28" fmla="*/ 64 w 126"/>
                <a:gd name="T29" fmla="*/ 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6" h="142">
                  <a:moveTo>
                    <a:pt x="97" y="142"/>
                  </a:moveTo>
                  <a:lnTo>
                    <a:pt x="97" y="142"/>
                  </a:lnTo>
                  <a:lnTo>
                    <a:pt x="89" y="117"/>
                  </a:lnTo>
                  <a:lnTo>
                    <a:pt x="38" y="117"/>
                  </a:lnTo>
                  <a:lnTo>
                    <a:pt x="29" y="142"/>
                  </a:lnTo>
                  <a:lnTo>
                    <a:pt x="0" y="142"/>
                  </a:lnTo>
                  <a:lnTo>
                    <a:pt x="52" y="0"/>
                  </a:lnTo>
                  <a:lnTo>
                    <a:pt x="74" y="0"/>
                  </a:lnTo>
                  <a:lnTo>
                    <a:pt x="126" y="142"/>
                  </a:lnTo>
                  <a:lnTo>
                    <a:pt x="97" y="142"/>
                  </a:lnTo>
                  <a:close/>
                  <a:moveTo>
                    <a:pt x="64" y="42"/>
                  </a:moveTo>
                  <a:lnTo>
                    <a:pt x="64" y="42"/>
                  </a:lnTo>
                  <a:lnTo>
                    <a:pt x="46" y="94"/>
                  </a:lnTo>
                  <a:lnTo>
                    <a:pt x="81" y="94"/>
                  </a:lnTo>
                  <a:lnTo>
                    <a:pt x="64" y="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8" name="Freeform 37"/>
            <p:cNvSpPr>
              <a:spLocks/>
            </p:cNvSpPr>
            <p:nvPr/>
          </p:nvSpPr>
          <p:spPr bwMode="auto">
            <a:xfrm>
              <a:off x="5872163" y="-819151"/>
              <a:ext cx="92075" cy="128588"/>
            </a:xfrm>
            <a:custGeom>
              <a:avLst/>
              <a:gdLst>
                <a:gd name="T0" fmla="*/ 65 w 102"/>
                <a:gd name="T1" fmla="*/ 25 h 142"/>
                <a:gd name="T2" fmla="*/ 65 w 102"/>
                <a:gd name="T3" fmla="*/ 25 h 142"/>
                <a:gd name="T4" fmla="*/ 65 w 102"/>
                <a:gd name="T5" fmla="*/ 142 h 142"/>
                <a:gd name="T6" fmla="*/ 37 w 102"/>
                <a:gd name="T7" fmla="*/ 142 h 142"/>
                <a:gd name="T8" fmla="*/ 37 w 102"/>
                <a:gd name="T9" fmla="*/ 25 h 142"/>
                <a:gd name="T10" fmla="*/ 0 w 102"/>
                <a:gd name="T11" fmla="*/ 25 h 142"/>
                <a:gd name="T12" fmla="*/ 0 w 102"/>
                <a:gd name="T13" fmla="*/ 0 h 142"/>
                <a:gd name="T14" fmla="*/ 102 w 102"/>
                <a:gd name="T15" fmla="*/ 0 h 142"/>
                <a:gd name="T16" fmla="*/ 102 w 102"/>
                <a:gd name="T17" fmla="*/ 25 h 142"/>
                <a:gd name="T18" fmla="*/ 65 w 102"/>
                <a:gd name="T19" fmla="*/ 2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42">
                  <a:moveTo>
                    <a:pt x="65" y="25"/>
                  </a:moveTo>
                  <a:lnTo>
                    <a:pt x="65" y="25"/>
                  </a:lnTo>
                  <a:lnTo>
                    <a:pt x="65" y="142"/>
                  </a:lnTo>
                  <a:lnTo>
                    <a:pt x="37" y="142"/>
                  </a:lnTo>
                  <a:lnTo>
                    <a:pt x="37" y="25"/>
                  </a:lnTo>
                  <a:lnTo>
                    <a:pt x="0" y="25"/>
                  </a:lnTo>
                  <a:lnTo>
                    <a:pt x="0" y="0"/>
                  </a:lnTo>
                  <a:lnTo>
                    <a:pt x="102" y="0"/>
                  </a:lnTo>
                  <a:lnTo>
                    <a:pt x="102" y="25"/>
                  </a:lnTo>
                  <a:lnTo>
                    <a:pt x="65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9" name="Freeform 38"/>
            <p:cNvSpPr>
              <a:spLocks/>
            </p:cNvSpPr>
            <p:nvPr/>
          </p:nvSpPr>
          <p:spPr bwMode="auto">
            <a:xfrm>
              <a:off x="5984875" y="-819151"/>
              <a:ext cx="114300" cy="128588"/>
            </a:xfrm>
            <a:custGeom>
              <a:avLst/>
              <a:gdLst>
                <a:gd name="T0" fmla="*/ 101 w 129"/>
                <a:gd name="T1" fmla="*/ 142 h 142"/>
                <a:gd name="T2" fmla="*/ 101 w 129"/>
                <a:gd name="T3" fmla="*/ 142 h 142"/>
                <a:gd name="T4" fmla="*/ 101 w 129"/>
                <a:gd name="T5" fmla="*/ 59 h 142"/>
                <a:gd name="T6" fmla="*/ 74 w 129"/>
                <a:gd name="T7" fmla="*/ 113 h 142"/>
                <a:gd name="T8" fmla="*/ 55 w 129"/>
                <a:gd name="T9" fmla="*/ 113 h 142"/>
                <a:gd name="T10" fmla="*/ 27 w 129"/>
                <a:gd name="T11" fmla="*/ 59 h 142"/>
                <a:gd name="T12" fmla="*/ 27 w 129"/>
                <a:gd name="T13" fmla="*/ 142 h 142"/>
                <a:gd name="T14" fmla="*/ 0 w 129"/>
                <a:gd name="T15" fmla="*/ 142 h 142"/>
                <a:gd name="T16" fmla="*/ 0 w 129"/>
                <a:gd name="T17" fmla="*/ 0 h 142"/>
                <a:gd name="T18" fmla="*/ 27 w 129"/>
                <a:gd name="T19" fmla="*/ 0 h 142"/>
                <a:gd name="T20" fmla="*/ 64 w 129"/>
                <a:gd name="T21" fmla="*/ 77 h 142"/>
                <a:gd name="T22" fmla="*/ 101 w 129"/>
                <a:gd name="T23" fmla="*/ 0 h 142"/>
                <a:gd name="T24" fmla="*/ 129 w 129"/>
                <a:gd name="T25" fmla="*/ 0 h 142"/>
                <a:gd name="T26" fmla="*/ 129 w 129"/>
                <a:gd name="T27" fmla="*/ 142 h 142"/>
                <a:gd name="T28" fmla="*/ 101 w 129"/>
                <a:gd name="T2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9" h="142">
                  <a:moveTo>
                    <a:pt x="101" y="142"/>
                  </a:moveTo>
                  <a:lnTo>
                    <a:pt x="101" y="142"/>
                  </a:lnTo>
                  <a:lnTo>
                    <a:pt x="101" y="59"/>
                  </a:lnTo>
                  <a:lnTo>
                    <a:pt x="74" y="113"/>
                  </a:lnTo>
                  <a:lnTo>
                    <a:pt x="55" y="113"/>
                  </a:lnTo>
                  <a:lnTo>
                    <a:pt x="27" y="59"/>
                  </a:lnTo>
                  <a:lnTo>
                    <a:pt x="27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27" y="0"/>
                  </a:lnTo>
                  <a:lnTo>
                    <a:pt x="64" y="77"/>
                  </a:lnTo>
                  <a:lnTo>
                    <a:pt x="101" y="0"/>
                  </a:lnTo>
                  <a:lnTo>
                    <a:pt x="129" y="0"/>
                  </a:lnTo>
                  <a:lnTo>
                    <a:pt x="129" y="142"/>
                  </a:lnTo>
                  <a:lnTo>
                    <a:pt x="101" y="1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0" name="Freeform 39"/>
            <p:cNvSpPr>
              <a:spLocks/>
            </p:cNvSpPr>
            <p:nvPr/>
          </p:nvSpPr>
          <p:spPr bwMode="auto">
            <a:xfrm>
              <a:off x="6127750" y="-819151"/>
              <a:ext cx="82550" cy="128588"/>
            </a:xfrm>
            <a:custGeom>
              <a:avLst/>
              <a:gdLst>
                <a:gd name="T0" fmla="*/ 0 w 93"/>
                <a:gd name="T1" fmla="*/ 142 h 142"/>
                <a:gd name="T2" fmla="*/ 0 w 93"/>
                <a:gd name="T3" fmla="*/ 142 h 142"/>
                <a:gd name="T4" fmla="*/ 0 w 93"/>
                <a:gd name="T5" fmla="*/ 0 h 142"/>
                <a:gd name="T6" fmla="*/ 93 w 93"/>
                <a:gd name="T7" fmla="*/ 0 h 142"/>
                <a:gd name="T8" fmla="*/ 93 w 93"/>
                <a:gd name="T9" fmla="*/ 25 h 142"/>
                <a:gd name="T10" fmla="*/ 27 w 93"/>
                <a:gd name="T11" fmla="*/ 25 h 142"/>
                <a:gd name="T12" fmla="*/ 27 w 93"/>
                <a:gd name="T13" fmla="*/ 58 h 142"/>
                <a:gd name="T14" fmla="*/ 84 w 93"/>
                <a:gd name="T15" fmla="*/ 58 h 142"/>
                <a:gd name="T16" fmla="*/ 84 w 93"/>
                <a:gd name="T17" fmla="*/ 83 h 142"/>
                <a:gd name="T18" fmla="*/ 27 w 93"/>
                <a:gd name="T19" fmla="*/ 83 h 142"/>
                <a:gd name="T20" fmla="*/ 27 w 93"/>
                <a:gd name="T21" fmla="*/ 118 h 142"/>
                <a:gd name="T22" fmla="*/ 93 w 93"/>
                <a:gd name="T23" fmla="*/ 118 h 142"/>
                <a:gd name="T24" fmla="*/ 93 w 93"/>
                <a:gd name="T25" fmla="*/ 142 h 142"/>
                <a:gd name="T26" fmla="*/ 0 w 93"/>
                <a:gd name="T27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3" h="142">
                  <a:moveTo>
                    <a:pt x="0" y="142"/>
                  </a:moveTo>
                  <a:lnTo>
                    <a:pt x="0" y="142"/>
                  </a:lnTo>
                  <a:lnTo>
                    <a:pt x="0" y="0"/>
                  </a:lnTo>
                  <a:lnTo>
                    <a:pt x="93" y="0"/>
                  </a:lnTo>
                  <a:lnTo>
                    <a:pt x="93" y="25"/>
                  </a:lnTo>
                  <a:lnTo>
                    <a:pt x="27" y="25"/>
                  </a:lnTo>
                  <a:lnTo>
                    <a:pt x="27" y="58"/>
                  </a:lnTo>
                  <a:lnTo>
                    <a:pt x="84" y="58"/>
                  </a:lnTo>
                  <a:lnTo>
                    <a:pt x="84" y="83"/>
                  </a:lnTo>
                  <a:lnTo>
                    <a:pt x="27" y="83"/>
                  </a:lnTo>
                  <a:lnTo>
                    <a:pt x="27" y="118"/>
                  </a:lnTo>
                  <a:lnTo>
                    <a:pt x="93" y="118"/>
                  </a:lnTo>
                  <a:lnTo>
                    <a:pt x="93" y="142"/>
                  </a:lnTo>
                  <a:lnTo>
                    <a:pt x="0" y="1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1" name="Freeform 40"/>
            <p:cNvSpPr>
              <a:spLocks/>
            </p:cNvSpPr>
            <p:nvPr/>
          </p:nvSpPr>
          <p:spPr bwMode="auto">
            <a:xfrm>
              <a:off x="6234113" y="-819151"/>
              <a:ext cx="98425" cy="128588"/>
            </a:xfrm>
            <a:custGeom>
              <a:avLst/>
              <a:gdLst>
                <a:gd name="T0" fmla="*/ 84 w 109"/>
                <a:gd name="T1" fmla="*/ 142 h 142"/>
                <a:gd name="T2" fmla="*/ 84 w 109"/>
                <a:gd name="T3" fmla="*/ 142 h 142"/>
                <a:gd name="T4" fmla="*/ 27 w 109"/>
                <a:gd name="T5" fmla="*/ 55 h 142"/>
                <a:gd name="T6" fmla="*/ 27 w 109"/>
                <a:gd name="T7" fmla="*/ 142 h 142"/>
                <a:gd name="T8" fmla="*/ 0 w 109"/>
                <a:gd name="T9" fmla="*/ 142 h 142"/>
                <a:gd name="T10" fmla="*/ 0 w 109"/>
                <a:gd name="T11" fmla="*/ 0 h 142"/>
                <a:gd name="T12" fmla="*/ 24 w 109"/>
                <a:gd name="T13" fmla="*/ 0 h 142"/>
                <a:gd name="T14" fmla="*/ 81 w 109"/>
                <a:gd name="T15" fmla="*/ 87 h 142"/>
                <a:gd name="T16" fmla="*/ 81 w 109"/>
                <a:gd name="T17" fmla="*/ 0 h 142"/>
                <a:gd name="T18" fmla="*/ 109 w 109"/>
                <a:gd name="T19" fmla="*/ 0 h 142"/>
                <a:gd name="T20" fmla="*/ 109 w 109"/>
                <a:gd name="T21" fmla="*/ 142 h 142"/>
                <a:gd name="T22" fmla="*/ 84 w 109"/>
                <a:gd name="T23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142">
                  <a:moveTo>
                    <a:pt x="84" y="142"/>
                  </a:moveTo>
                  <a:lnTo>
                    <a:pt x="84" y="142"/>
                  </a:lnTo>
                  <a:lnTo>
                    <a:pt x="27" y="55"/>
                  </a:lnTo>
                  <a:lnTo>
                    <a:pt x="27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81" y="87"/>
                  </a:lnTo>
                  <a:lnTo>
                    <a:pt x="81" y="0"/>
                  </a:lnTo>
                  <a:lnTo>
                    <a:pt x="109" y="0"/>
                  </a:lnTo>
                  <a:lnTo>
                    <a:pt x="109" y="142"/>
                  </a:lnTo>
                  <a:lnTo>
                    <a:pt x="84" y="1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2" name="Freeform 41"/>
            <p:cNvSpPr>
              <a:spLocks/>
            </p:cNvSpPr>
            <p:nvPr/>
          </p:nvSpPr>
          <p:spPr bwMode="auto">
            <a:xfrm>
              <a:off x="6351588" y="-819151"/>
              <a:ext cx="90488" cy="128588"/>
            </a:xfrm>
            <a:custGeom>
              <a:avLst/>
              <a:gdLst>
                <a:gd name="T0" fmla="*/ 65 w 102"/>
                <a:gd name="T1" fmla="*/ 25 h 142"/>
                <a:gd name="T2" fmla="*/ 65 w 102"/>
                <a:gd name="T3" fmla="*/ 25 h 142"/>
                <a:gd name="T4" fmla="*/ 65 w 102"/>
                <a:gd name="T5" fmla="*/ 142 h 142"/>
                <a:gd name="T6" fmla="*/ 37 w 102"/>
                <a:gd name="T7" fmla="*/ 142 h 142"/>
                <a:gd name="T8" fmla="*/ 37 w 102"/>
                <a:gd name="T9" fmla="*/ 25 h 142"/>
                <a:gd name="T10" fmla="*/ 0 w 102"/>
                <a:gd name="T11" fmla="*/ 25 h 142"/>
                <a:gd name="T12" fmla="*/ 0 w 102"/>
                <a:gd name="T13" fmla="*/ 0 h 142"/>
                <a:gd name="T14" fmla="*/ 102 w 102"/>
                <a:gd name="T15" fmla="*/ 0 h 142"/>
                <a:gd name="T16" fmla="*/ 102 w 102"/>
                <a:gd name="T17" fmla="*/ 25 h 142"/>
                <a:gd name="T18" fmla="*/ 65 w 102"/>
                <a:gd name="T19" fmla="*/ 2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42">
                  <a:moveTo>
                    <a:pt x="65" y="25"/>
                  </a:moveTo>
                  <a:lnTo>
                    <a:pt x="65" y="25"/>
                  </a:lnTo>
                  <a:lnTo>
                    <a:pt x="65" y="142"/>
                  </a:lnTo>
                  <a:lnTo>
                    <a:pt x="37" y="142"/>
                  </a:lnTo>
                  <a:lnTo>
                    <a:pt x="37" y="25"/>
                  </a:lnTo>
                  <a:lnTo>
                    <a:pt x="0" y="25"/>
                  </a:lnTo>
                  <a:lnTo>
                    <a:pt x="0" y="0"/>
                  </a:lnTo>
                  <a:lnTo>
                    <a:pt x="102" y="0"/>
                  </a:lnTo>
                  <a:lnTo>
                    <a:pt x="102" y="25"/>
                  </a:lnTo>
                  <a:lnTo>
                    <a:pt x="65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3" name="Transport Blue text"/>
          <p:cNvGrpSpPr/>
          <p:nvPr/>
        </p:nvGrpSpPr>
        <p:grpSpPr>
          <a:xfrm>
            <a:off x="4495315" y="1637712"/>
            <a:ext cx="822456" cy="106039"/>
            <a:chOff x="3205163" y="-1457326"/>
            <a:chExt cx="1009650" cy="130175"/>
          </a:xfrm>
          <a:solidFill>
            <a:schemeClr val="accent3">
              <a:lumMod val="75000"/>
            </a:schemeClr>
          </a:solidFill>
        </p:grpSpPr>
        <p:sp>
          <p:nvSpPr>
            <p:cNvPr id="244" name="Freeform 24"/>
            <p:cNvSpPr>
              <a:spLocks/>
            </p:cNvSpPr>
            <p:nvPr/>
          </p:nvSpPr>
          <p:spPr bwMode="auto">
            <a:xfrm>
              <a:off x="3205163" y="-1457326"/>
              <a:ext cx="92075" cy="128588"/>
            </a:xfrm>
            <a:custGeom>
              <a:avLst/>
              <a:gdLst>
                <a:gd name="T0" fmla="*/ 0 w 103"/>
                <a:gd name="T1" fmla="*/ 0 h 142"/>
                <a:gd name="T2" fmla="*/ 0 w 103"/>
                <a:gd name="T3" fmla="*/ 0 h 142"/>
                <a:gd name="T4" fmla="*/ 0 w 103"/>
                <a:gd name="T5" fmla="*/ 24 h 142"/>
                <a:gd name="T6" fmla="*/ 38 w 103"/>
                <a:gd name="T7" fmla="*/ 24 h 142"/>
                <a:gd name="T8" fmla="*/ 38 w 103"/>
                <a:gd name="T9" fmla="*/ 142 h 142"/>
                <a:gd name="T10" fmla="*/ 65 w 103"/>
                <a:gd name="T11" fmla="*/ 142 h 142"/>
                <a:gd name="T12" fmla="*/ 65 w 103"/>
                <a:gd name="T13" fmla="*/ 24 h 142"/>
                <a:gd name="T14" fmla="*/ 103 w 103"/>
                <a:gd name="T15" fmla="*/ 24 h 142"/>
                <a:gd name="T16" fmla="*/ 103 w 103"/>
                <a:gd name="T17" fmla="*/ 0 h 142"/>
                <a:gd name="T18" fmla="*/ 0 w 103"/>
                <a:gd name="T1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142">
                  <a:moveTo>
                    <a:pt x="0" y="0"/>
                  </a:moveTo>
                  <a:lnTo>
                    <a:pt x="0" y="0"/>
                  </a:lnTo>
                  <a:lnTo>
                    <a:pt x="0" y="24"/>
                  </a:lnTo>
                  <a:lnTo>
                    <a:pt x="38" y="24"/>
                  </a:lnTo>
                  <a:lnTo>
                    <a:pt x="38" y="142"/>
                  </a:lnTo>
                  <a:lnTo>
                    <a:pt x="65" y="142"/>
                  </a:lnTo>
                  <a:lnTo>
                    <a:pt x="65" y="24"/>
                  </a:lnTo>
                  <a:lnTo>
                    <a:pt x="103" y="24"/>
                  </a:lnTo>
                  <a:lnTo>
                    <a:pt x="1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5" name="Freeform 25"/>
            <p:cNvSpPr>
              <a:spLocks noEditPoints="1"/>
            </p:cNvSpPr>
            <p:nvPr/>
          </p:nvSpPr>
          <p:spPr bwMode="auto">
            <a:xfrm>
              <a:off x="3316288" y="-1457326"/>
              <a:ext cx="96838" cy="128588"/>
            </a:xfrm>
            <a:custGeom>
              <a:avLst/>
              <a:gdLst>
                <a:gd name="T0" fmla="*/ 76 w 108"/>
                <a:gd name="T1" fmla="*/ 142 h 142"/>
                <a:gd name="T2" fmla="*/ 76 w 108"/>
                <a:gd name="T3" fmla="*/ 142 h 142"/>
                <a:gd name="T4" fmla="*/ 48 w 108"/>
                <a:gd name="T5" fmla="*/ 85 h 142"/>
                <a:gd name="T6" fmla="*/ 28 w 108"/>
                <a:gd name="T7" fmla="*/ 85 h 142"/>
                <a:gd name="T8" fmla="*/ 28 w 108"/>
                <a:gd name="T9" fmla="*/ 142 h 142"/>
                <a:gd name="T10" fmla="*/ 0 w 108"/>
                <a:gd name="T11" fmla="*/ 142 h 142"/>
                <a:gd name="T12" fmla="*/ 0 w 108"/>
                <a:gd name="T13" fmla="*/ 0 h 142"/>
                <a:gd name="T14" fmla="*/ 56 w 108"/>
                <a:gd name="T15" fmla="*/ 0 h 142"/>
                <a:gd name="T16" fmla="*/ 102 w 108"/>
                <a:gd name="T17" fmla="*/ 43 h 142"/>
                <a:gd name="T18" fmla="*/ 76 w 108"/>
                <a:gd name="T19" fmla="*/ 80 h 142"/>
                <a:gd name="T20" fmla="*/ 108 w 108"/>
                <a:gd name="T21" fmla="*/ 142 h 142"/>
                <a:gd name="T22" fmla="*/ 76 w 108"/>
                <a:gd name="T23" fmla="*/ 142 h 142"/>
                <a:gd name="T24" fmla="*/ 54 w 108"/>
                <a:gd name="T25" fmla="*/ 24 h 142"/>
                <a:gd name="T26" fmla="*/ 54 w 108"/>
                <a:gd name="T27" fmla="*/ 24 h 142"/>
                <a:gd name="T28" fmla="*/ 28 w 108"/>
                <a:gd name="T29" fmla="*/ 24 h 142"/>
                <a:gd name="T30" fmla="*/ 28 w 108"/>
                <a:gd name="T31" fmla="*/ 62 h 142"/>
                <a:gd name="T32" fmla="*/ 54 w 108"/>
                <a:gd name="T33" fmla="*/ 62 h 142"/>
                <a:gd name="T34" fmla="*/ 74 w 108"/>
                <a:gd name="T35" fmla="*/ 43 h 142"/>
                <a:gd name="T36" fmla="*/ 54 w 108"/>
                <a:gd name="T37" fmla="*/ 2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8" h="142">
                  <a:moveTo>
                    <a:pt x="76" y="142"/>
                  </a:moveTo>
                  <a:lnTo>
                    <a:pt x="76" y="142"/>
                  </a:lnTo>
                  <a:lnTo>
                    <a:pt x="48" y="85"/>
                  </a:lnTo>
                  <a:lnTo>
                    <a:pt x="28" y="85"/>
                  </a:lnTo>
                  <a:lnTo>
                    <a:pt x="28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56" y="0"/>
                  </a:lnTo>
                  <a:cubicBezTo>
                    <a:pt x="85" y="0"/>
                    <a:pt x="102" y="19"/>
                    <a:pt x="102" y="43"/>
                  </a:cubicBezTo>
                  <a:cubicBezTo>
                    <a:pt x="102" y="63"/>
                    <a:pt x="90" y="75"/>
                    <a:pt x="76" y="80"/>
                  </a:cubicBezTo>
                  <a:lnTo>
                    <a:pt x="108" y="142"/>
                  </a:lnTo>
                  <a:lnTo>
                    <a:pt x="76" y="142"/>
                  </a:lnTo>
                  <a:close/>
                  <a:moveTo>
                    <a:pt x="54" y="24"/>
                  </a:moveTo>
                  <a:lnTo>
                    <a:pt x="54" y="24"/>
                  </a:lnTo>
                  <a:lnTo>
                    <a:pt x="28" y="24"/>
                  </a:lnTo>
                  <a:lnTo>
                    <a:pt x="28" y="62"/>
                  </a:lnTo>
                  <a:lnTo>
                    <a:pt x="54" y="62"/>
                  </a:lnTo>
                  <a:cubicBezTo>
                    <a:pt x="66" y="62"/>
                    <a:pt x="74" y="54"/>
                    <a:pt x="74" y="43"/>
                  </a:cubicBezTo>
                  <a:cubicBezTo>
                    <a:pt x="74" y="32"/>
                    <a:pt x="66" y="24"/>
                    <a:pt x="54" y="2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6" name="Freeform 26"/>
            <p:cNvSpPr>
              <a:spLocks noEditPoints="1"/>
            </p:cNvSpPr>
            <p:nvPr/>
          </p:nvSpPr>
          <p:spPr bwMode="auto">
            <a:xfrm>
              <a:off x="3427413" y="-1457326"/>
              <a:ext cx="111125" cy="128588"/>
            </a:xfrm>
            <a:custGeom>
              <a:avLst/>
              <a:gdLst>
                <a:gd name="T0" fmla="*/ 52 w 126"/>
                <a:gd name="T1" fmla="*/ 0 h 142"/>
                <a:gd name="T2" fmla="*/ 52 w 126"/>
                <a:gd name="T3" fmla="*/ 0 h 142"/>
                <a:gd name="T4" fmla="*/ 0 w 126"/>
                <a:gd name="T5" fmla="*/ 142 h 142"/>
                <a:gd name="T6" fmla="*/ 29 w 126"/>
                <a:gd name="T7" fmla="*/ 142 h 142"/>
                <a:gd name="T8" fmla="*/ 38 w 126"/>
                <a:gd name="T9" fmla="*/ 116 h 142"/>
                <a:gd name="T10" fmla="*/ 88 w 126"/>
                <a:gd name="T11" fmla="*/ 116 h 142"/>
                <a:gd name="T12" fmla="*/ 97 w 126"/>
                <a:gd name="T13" fmla="*/ 142 h 142"/>
                <a:gd name="T14" fmla="*/ 126 w 126"/>
                <a:gd name="T15" fmla="*/ 142 h 142"/>
                <a:gd name="T16" fmla="*/ 74 w 126"/>
                <a:gd name="T17" fmla="*/ 0 h 142"/>
                <a:gd name="T18" fmla="*/ 52 w 126"/>
                <a:gd name="T19" fmla="*/ 0 h 142"/>
                <a:gd name="T20" fmla="*/ 63 w 126"/>
                <a:gd name="T21" fmla="*/ 41 h 142"/>
                <a:gd name="T22" fmla="*/ 63 w 126"/>
                <a:gd name="T23" fmla="*/ 41 h 142"/>
                <a:gd name="T24" fmla="*/ 81 w 126"/>
                <a:gd name="T25" fmla="*/ 93 h 142"/>
                <a:gd name="T26" fmla="*/ 45 w 126"/>
                <a:gd name="T27" fmla="*/ 93 h 142"/>
                <a:gd name="T28" fmla="*/ 63 w 126"/>
                <a:gd name="T29" fmla="*/ 41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6" h="142">
                  <a:moveTo>
                    <a:pt x="52" y="0"/>
                  </a:moveTo>
                  <a:lnTo>
                    <a:pt x="52" y="0"/>
                  </a:lnTo>
                  <a:lnTo>
                    <a:pt x="0" y="142"/>
                  </a:lnTo>
                  <a:lnTo>
                    <a:pt x="29" y="142"/>
                  </a:lnTo>
                  <a:lnTo>
                    <a:pt x="38" y="116"/>
                  </a:lnTo>
                  <a:lnTo>
                    <a:pt x="88" y="116"/>
                  </a:lnTo>
                  <a:lnTo>
                    <a:pt x="97" y="142"/>
                  </a:lnTo>
                  <a:lnTo>
                    <a:pt x="126" y="142"/>
                  </a:lnTo>
                  <a:lnTo>
                    <a:pt x="74" y="0"/>
                  </a:lnTo>
                  <a:lnTo>
                    <a:pt x="52" y="0"/>
                  </a:lnTo>
                  <a:close/>
                  <a:moveTo>
                    <a:pt x="63" y="41"/>
                  </a:moveTo>
                  <a:lnTo>
                    <a:pt x="63" y="41"/>
                  </a:lnTo>
                  <a:lnTo>
                    <a:pt x="81" y="93"/>
                  </a:lnTo>
                  <a:lnTo>
                    <a:pt x="45" y="93"/>
                  </a:lnTo>
                  <a:lnTo>
                    <a:pt x="63" y="4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7" name="Freeform 27"/>
            <p:cNvSpPr>
              <a:spLocks/>
            </p:cNvSpPr>
            <p:nvPr/>
          </p:nvSpPr>
          <p:spPr bwMode="auto">
            <a:xfrm>
              <a:off x="3556000" y="-1457326"/>
              <a:ext cx="98425" cy="128588"/>
            </a:xfrm>
            <a:custGeom>
              <a:avLst/>
              <a:gdLst>
                <a:gd name="T0" fmla="*/ 81 w 109"/>
                <a:gd name="T1" fmla="*/ 0 h 142"/>
                <a:gd name="T2" fmla="*/ 81 w 109"/>
                <a:gd name="T3" fmla="*/ 0 h 142"/>
                <a:gd name="T4" fmla="*/ 81 w 109"/>
                <a:gd name="T5" fmla="*/ 86 h 142"/>
                <a:gd name="T6" fmla="*/ 24 w 109"/>
                <a:gd name="T7" fmla="*/ 0 h 142"/>
                <a:gd name="T8" fmla="*/ 0 w 109"/>
                <a:gd name="T9" fmla="*/ 0 h 142"/>
                <a:gd name="T10" fmla="*/ 0 w 109"/>
                <a:gd name="T11" fmla="*/ 142 h 142"/>
                <a:gd name="T12" fmla="*/ 27 w 109"/>
                <a:gd name="T13" fmla="*/ 142 h 142"/>
                <a:gd name="T14" fmla="*/ 27 w 109"/>
                <a:gd name="T15" fmla="*/ 54 h 142"/>
                <a:gd name="T16" fmla="*/ 84 w 109"/>
                <a:gd name="T17" fmla="*/ 142 h 142"/>
                <a:gd name="T18" fmla="*/ 109 w 109"/>
                <a:gd name="T19" fmla="*/ 142 h 142"/>
                <a:gd name="T20" fmla="*/ 109 w 109"/>
                <a:gd name="T21" fmla="*/ 0 h 142"/>
                <a:gd name="T22" fmla="*/ 81 w 109"/>
                <a:gd name="T23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142">
                  <a:moveTo>
                    <a:pt x="81" y="0"/>
                  </a:moveTo>
                  <a:lnTo>
                    <a:pt x="81" y="0"/>
                  </a:lnTo>
                  <a:lnTo>
                    <a:pt x="81" y="86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142"/>
                  </a:lnTo>
                  <a:lnTo>
                    <a:pt x="27" y="142"/>
                  </a:lnTo>
                  <a:lnTo>
                    <a:pt x="27" y="54"/>
                  </a:lnTo>
                  <a:lnTo>
                    <a:pt x="84" y="142"/>
                  </a:lnTo>
                  <a:lnTo>
                    <a:pt x="109" y="142"/>
                  </a:lnTo>
                  <a:lnTo>
                    <a:pt x="109" y="0"/>
                  </a:lnTo>
                  <a:lnTo>
                    <a:pt x="8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8" name="Freeform 28"/>
            <p:cNvSpPr>
              <a:spLocks/>
            </p:cNvSpPr>
            <p:nvPr/>
          </p:nvSpPr>
          <p:spPr bwMode="auto">
            <a:xfrm>
              <a:off x="3671888" y="-1457326"/>
              <a:ext cx="93663" cy="130175"/>
            </a:xfrm>
            <a:custGeom>
              <a:avLst/>
              <a:gdLst>
                <a:gd name="T0" fmla="*/ 52 w 105"/>
                <a:gd name="T1" fmla="*/ 144 h 144"/>
                <a:gd name="T2" fmla="*/ 52 w 105"/>
                <a:gd name="T3" fmla="*/ 144 h 144"/>
                <a:gd name="T4" fmla="*/ 0 w 105"/>
                <a:gd name="T5" fmla="*/ 125 h 144"/>
                <a:gd name="T6" fmla="*/ 18 w 105"/>
                <a:gd name="T7" fmla="*/ 107 h 144"/>
                <a:gd name="T8" fmla="*/ 53 w 105"/>
                <a:gd name="T9" fmla="*/ 119 h 144"/>
                <a:gd name="T10" fmla="*/ 78 w 105"/>
                <a:gd name="T11" fmla="*/ 101 h 144"/>
                <a:gd name="T12" fmla="*/ 73 w 105"/>
                <a:gd name="T13" fmla="*/ 89 h 144"/>
                <a:gd name="T14" fmla="*/ 61 w 105"/>
                <a:gd name="T15" fmla="*/ 84 h 144"/>
                <a:gd name="T16" fmla="*/ 44 w 105"/>
                <a:gd name="T17" fmla="*/ 82 h 144"/>
                <a:gd name="T18" fmla="*/ 16 w 105"/>
                <a:gd name="T19" fmla="*/ 70 h 144"/>
                <a:gd name="T20" fmla="*/ 6 w 105"/>
                <a:gd name="T21" fmla="*/ 42 h 144"/>
                <a:gd name="T22" fmla="*/ 55 w 105"/>
                <a:gd name="T23" fmla="*/ 0 h 144"/>
                <a:gd name="T24" fmla="*/ 101 w 105"/>
                <a:gd name="T25" fmla="*/ 16 h 144"/>
                <a:gd name="T26" fmla="*/ 84 w 105"/>
                <a:gd name="T27" fmla="*/ 33 h 144"/>
                <a:gd name="T28" fmla="*/ 55 w 105"/>
                <a:gd name="T29" fmla="*/ 23 h 144"/>
                <a:gd name="T30" fmla="*/ 33 w 105"/>
                <a:gd name="T31" fmla="*/ 41 h 144"/>
                <a:gd name="T32" fmla="*/ 37 w 105"/>
                <a:gd name="T33" fmla="*/ 51 h 144"/>
                <a:gd name="T34" fmla="*/ 50 w 105"/>
                <a:gd name="T35" fmla="*/ 57 h 144"/>
                <a:gd name="T36" fmla="*/ 67 w 105"/>
                <a:gd name="T37" fmla="*/ 59 h 144"/>
                <a:gd name="T38" fmla="*/ 94 w 105"/>
                <a:gd name="T39" fmla="*/ 70 h 144"/>
                <a:gd name="T40" fmla="*/ 105 w 105"/>
                <a:gd name="T41" fmla="*/ 101 h 144"/>
                <a:gd name="T42" fmla="*/ 52 w 105"/>
                <a:gd name="T4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5" h="144">
                  <a:moveTo>
                    <a:pt x="52" y="144"/>
                  </a:moveTo>
                  <a:lnTo>
                    <a:pt x="52" y="144"/>
                  </a:lnTo>
                  <a:cubicBezTo>
                    <a:pt x="31" y="144"/>
                    <a:pt x="14" y="139"/>
                    <a:pt x="0" y="125"/>
                  </a:cubicBezTo>
                  <a:lnTo>
                    <a:pt x="18" y="107"/>
                  </a:lnTo>
                  <a:cubicBezTo>
                    <a:pt x="27" y="116"/>
                    <a:pt x="39" y="119"/>
                    <a:pt x="53" y="119"/>
                  </a:cubicBezTo>
                  <a:cubicBezTo>
                    <a:pt x="69" y="119"/>
                    <a:pt x="78" y="113"/>
                    <a:pt x="78" y="101"/>
                  </a:cubicBezTo>
                  <a:cubicBezTo>
                    <a:pt x="78" y="96"/>
                    <a:pt x="76" y="92"/>
                    <a:pt x="73" y="89"/>
                  </a:cubicBezTo>
                  <a:cubicBezTo>
                    <a:pt x="71" y="87"/>
                    <a:pt x="67" y="85"/>
                    <a:pt x="61" y="84"/>
                  </a:cubicBezTo>
                  <a:lnTo>
                    <a:pt x="44" y="82"/>
                  </a:lnTo>
                  <a:cubicBezTo>
                    <a:pt x="31" y="80"/>
                    <a:pt x="22" y="76"/>
                    <a:pt x="16" y="70"/>
                  </a:cubicBezTo>
                  <a:cubicBezTo>
                    <a:pt x="9" y="63"/>
                    <a:pt x="6" y="54"/>
                    <a:pt x="6" y="42"/>
                  </a:cubicBezTo>
                  <a:cubicBezTo>
                    <a:pt x="6" y="17"/>
                    <a:pt x="25" y="0"/>
                    <a:pt x="55" y="0"/>
                  </a:cubicBezTo>
                  <a:cubicBezTo>
                    <a:pt x="75" y="0"/>
                    <a:pt x="89" y="4"/>
                    <a:pt x="101" y="16"/>
                  </a:cubicBezTo>
                  <a:lnTo>
                    <a:pt x="84" y="33"/>
                  </a:lnTo>
                  <a:cubicBezTo>
                    <a:pt x="75" y="24"/>
                    <a:pt x="64" y="23"/>
                    <a:pt x="55" y="23"/>
                  </a:cubicBezTo>
                  <a:cubicBezTo>
                    <a:pt x="40" y="23"/>
                    <a:pt x="33" y="31"/>
                    <a:pt x="33" y="41"/>
                  </a:cubicBezTo>
                  <a:cubicBezTo>
                    <a:pt x="33" y="45"/>
                    <a:pt x="34" y="49"/>
                    <a:pt x="37" y="51"/>
                  </a:cubicBezTo>
                  <a:cubicBezTo>
                    <a:pt x="40" y="54"/>
                    <a:pt x="44" y="56"/>
                    <a:pt x="50" y="57"/>
                  </a:cubicBezTo>
                  <a:lnTo>
                    <a:pt x="67" y="59"/>
                  </a:lnTo>
                  <a:cubicBezTo>
                    <a:pt x="80" y="61"/>
                    <a:pt x="88" y="65"/>
                    <a:pt x="94" y="70"/>
                  </a:cubicBezTo>
                  <a:cubicBezTo>
                    <a:pt x="102" y="78"/>
                    <a:pt x="105" y="88"/>
                    <a:pt x="105" y="101"/>
                  </a:cubicBezTo>
                  <a:cubicBezTo>
                    <a:pt x="105" y="128"/>
                    <a:pt x="82" y="144"/>
                    <a:pt x="52" y="1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9" name="Freeform 29"/>
            <p:cNvSpPr>
              <a:spLocks noEditPoints="1"/>
            </p:cNvSpPr>
            <p:nvPr/>
          </p:nvSpPr>
          <p:spPr bwMode="auto">
            <a:xfrm>
              <a:off x="3787775" y="-1457326"/>
              <a:ext cx="90488" cy="128588"/>
            </a:xfrm>
            <a:custGeom>
              <a:avLst/>
              <a:gdLst>
                <a:gd name="T0" fmla="*/ 55 w 102"/>
                <a:gd name="T1" fmla="*/ 88 h 142"/>
                <a:gd name="T2" fmla="*/ 55 w 102"/>
                <a:gd name="T3" fmla="*/ 88 h 142"/>
                <a:gd name="T4" fmla="*/ 28 w 102"/>
                <a:gd name="T5" fmla="*/ 88 h 142"/>
                <a:gd name="T6" fmla="*/ 28 w 102"/>
                <a:gd name="T7" fmla="*/ 142 h 142"/>
                <a:gd name="T8" fmla="*/ 0 w 102"/>
                <a:gd name="T9" fmla="*/ 142 h 142"/>
                <a:gd name="T10" fmla="*/ 0 w 102"/>
                <a:gd name="T11" fmla="*/ 0 h 142"/>
                <a:gd name="T12" fmla="*/ 55 w 102"/>
                <a:gd name="T13" fmla="*/ 0 h 142"/>
                <a:gd name="T14" fmla="*/ 102 w 102"/>
                <a:gd name="T15" fmla="*/ 44 h 142"/>
                <a:gd name="T16" fmla="*/ 55 w 102"/>
                <a:gd name="T17" fmla="*/ 88 h 142"/>
                <a:gd name="T18" fmla="*/ 54 w 102"/>
                <a:gd name="T19" fmla="*/ 24 h 142"/>
                <a:gd name="T20" fmla="*/ 54 w 102"/>
                <a:gd name="T21" fmla="*/ 24 h 142"/>
                <a:gd name="T22" fmla="*/ 28 w 102"/>
                <a:gd name="T23" fmla="*/ 24 h 142"/>
                <a:gd name="T24" fmla="*/ 28 w 102"/>
                <a:gd name="T25" fmla="*/ 63 h 142"/>
                <a:gd name="T26" fmla="*/ 54 w 102"/>
                <a:gd name="T27" fmla="*/ 63 h 142"/>
                <a:gd name="T28" fmla="*/ 75 w 102"/>
                <a:gd name="T29" fmla="*/ 44 h 142"/>
                <a:gd name="T30" fmla="*/ 54 w 102"/>
                <a:gd name="T31" fmla="*/ 2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2" h="142">
                  <a:moveTo>
                    <a:pt x="55" y="88"/>
                  </a:moveTo>
                  <a:lnTo>
                    <a:pt x="55" y="88"/>
                  </a:lnTo>
                  <a:lnTo>
                    <a:pt x="28" y="88"/>
                  </a:lnTo>
                  <a:lnTo>
                    <a:pt x="28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55" y="0"/>
                  </a:lnTo>
                  <a:cubicBezTo>
                    <a:pt x="85" y="0"/>
                    <a:pt x="102" y="19"/>
                    <a:pt x="102" y="44"/>
                  </a:cubicBezTo>
                  <a:cubicBezTo>
                    <a:pt x="102" y="68"/>
                    <a:pt x="85" y="88"/>
                    <a:pt x="55" y="88"/>
                  </a:cubicBezTo>
                  <a:close/>
                  <a:moveTo>
                    <a:pt x="54" y="24"/>
                  </a:moveTo>
                  <a:lnTo>
                    <a:pt x="54" y="24"/>
                  </a:lnTo>
                  <a:lnTo>
                    <a:pt x="28" y="24"/>
                  </a:lnTo>
                  <a:lnTo>
                    <a:pt x="28" y="63"/>
                  </a:lnTo>
                  <a:lnTo>
                    <a:pt x="54" y="63"/>
                  </a:lnTo>
                  <a:cubicBezTo>
                    <a:pt x="67" y="63"/>
                    <a:pt x="75" y="55"/>
                    <a:pt x="75" y="44"/>
                  </a:cubicBezTo>
                  <a:cubicBezTo>
                    <a:pt x="75" y="32"/>
                    <a:pt x="67" y="24"/>
                    <a:pt x="54" y="2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0" name="Freeform 30"/>
            <p:cNvSpPr>
              <a:spLocks noEditPoints="1"/>
            </p:cNvSpPr>
            <p:nvPr/>
          </p:nvSpPr>
          <p:spPr bwMode="auto">
            <a:xfrm>
              <a:off x="3895725" y="-1457326"/>
              <a:ext cx="95250" cy="130175"/>
            </a:xfrm>
            <a:custGeom>
              <a:avLst/>
              <a:gdLst>
                <a:gd name="T0" fmla="*/ 92 w 106"/>
                <a:gd name="T1" fmla="*/ 128 h 144"/>
                <a:gd name="T2" fmla="*/ 92 w 106"/>
                <a:gd name="T3" fmla="*/ 128 h 144"/>
                <a:gd name="T4" fmla="*/ 53 w 106"/>
                <a:gd name="T5" fmla="*/ 144 h 144"/>
                <a:gd name="T6" fmla="*/ 15 w 106"/>
                <a:gd name="T7" fmla="*/ 128 h 144"/>
                <a:gd name="T8" fmla="*/ 1 w 106"/>
                <a:gd name="T9" fmla="*/ 71 h 144"/>
                <a:gd name="T10" fmla="*/ 15 w 106"/>
                <a:gd name="T11" fmla="*/ 15 h 144"/>
                <a:gd name="T12" fmla="*/ 53 w 106"/>
                <a:gd name="T13" fmla="*/ 0 h 144"/>
                <a:gd name="T14" fmla="*/ 92 w 106"/>
                <a:gd name="T15" fmla="*/ 15 h 144"/>
                <a:gd name="T16" fmla="*/ 106 w 106"/>
                <a:gd name="T17" fmla="*/ 71 h 144"/>
                <a:gd name="T18" fmla="*/ 92 w 106"/>
                <a:gd name="T19" fmla="*/ 128 h 144"/>
                <a:gd name="T20" fmla="*/ 71 w 106"/>
                <a:gd name="T21" fmla="*/ 31 h 144"/>
                <a:gd name="T22" fmla="*/ 71 w 106"/>
                <a:gd name="T23" fmla="*/ 31 h 144"/>
                <a:gd name="T24" fmla="*/ 53 w 106"/>
                <a:gd name="T25" fmla="*/ 24 h 144"/>
                <a:gd name="T26" fmla="*/ 35 w 106"/>
                <a:gd name="T27" fmla="*/ 31 h 144"/>
                <a:gd name="T28" fmla="*/ 29 w 106"/>
                <a:gd name="T29" fmla="*/ 71 h 144"/>
                <a:gd name="T30" fmla="*/ 35 w 106"/>
                <a:gd name="T31" fmla="*/ 111 h 144"/>
                <a:gd name="T32" fmla="*/ 53 w 106"/>
                <a:gd name="T33" fmla="*/ 119 h 144"/>
                <a:gd name="T34" fmla="*/ 71 w 106"/>
                <a:gd name="T35" fmla="*/ 111 h 144"/>
                <a:gd name="T36" fmla="*/ 78 w 106"/>
                <a:gd name="T37" fmla="*/ 71 h 144"/>
                <a:gd name="T38" fmla="*/ 71 w 106"/>
                <a:gd name="T39" fmla="*/ 31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6" h="144">
                  <a:moveTo>
                    <a:pt x="92" y="128"/>
                  </a:moveTo>
                  <a:lnTo>
                    <a:pt x="92" y="128"/>
                  </a:lnTo>
                  <a:cubicBezTo>
                    <a:pt x="82" y="138"/>
                    <a:pt x="70" y="144"/>
                    <a:pt x="53" y="144"/>
                  </a:cubicBezTo>
                  <a:cubicBezTo>
                    <a:pt x="37" y="144"/>
                    <a:pt x="25" y="138"/>
                    <a:pt x="15" y="128"/>
                  </a:cubicBezTo>
                  <a:cubicBezTo>
                    <a:pt x="0" y="114"/>
                    <a:pt x="1" y="96"/>
                    <a:pt x="1" y="71"/>
                  </a:cubicBezTo>
                  <a:cubicBezTo>
                    <a:pt x="1" y="47"/>
                    <a:pt x="0" y="29"/>
                    <a:pt x="15" y="15"/>
                  </a:cubicBezTo>
                  <a:cubicBezTo>
                    <a:pt x="25" y="5"/>
                    <a:pt x="37" y="0"/>
                    <a:pt x="53" y="0"/>
                  </a:cubicBezTo>
                  <a:cubicBezTo>
                    <a:pt x="70" y="0"/>
                    <a:pt x="82" y="5"/>
                    <a:pt x="92" y="15"/>
                  </a:cubicBezTo>
                  <a:cubicBezTo>
                    <a:pt x="106" y="29"/>
                    <a:pt x="106" y="47"/>
                    <a:pt x="106" y="71"/>
                  </a:cubicBezTo>
                  <a:cubicBezTo>
                    <a:pt x="106" y="96"/>
                    <a:pt x="106" y="114"/>
                    <a:pt x="92" y="128"/>
                  </a:cubicBezTo>
                  <a:close/>
                  <a:moveTo>
                    <a:pt x="71" y="31"/>
                  </a:moveTo>
                  <a:lnTo>
                    <a:pt x="71" y="31"/>
                  </a:lnTo>
                  <a:cubicBezTo>
                    <a:pt x="67" y="27"/>
                    <a:pt x="61" y="24"/>
                    <a:pt x="53" y="24"/>
                  </a:cubicBezTo>
                  <a:cubicBezTo>
                    <a:pt x="46" y="24"/>
                    <a:pt x="39" y="27"/>
                    <a:pt x="35" y="31"/>
                  </a:cubicBezTo>
                  <a:cubicBezTo>
                    <a:pt x="30" y="37"/>
                    <a:pt x="29" y="44"/>
                    <a:pt x="29" y="71"/>
                  </a:cubicBezTo>
                  <a:cubicBezTo>
                    <a:pt x="29" y="99"/>
                    <a:pt x="30" y="105"/>
                    <a:pt x="35" y="111"/>
                  </a:cubicBezTo>
                  <a:cubicBezTo>
                    <a:pt x="39" y="116"/>
                    <a:pt x="46" y="119"/>
                    <a:pt x="53" y="119"/>
                  </a:cubicBezTo>
                  <a:cubicBezTo>
                    <a:pt x="61" y="119"/>
                    <a:pt x="67" y="116"/>
                    <a:pt x="71" y="111"/>
                  </a:cubicBezTo>
                  <a:cubicBezTo>
                    <a:pt x="77" y="105"/>
                    <a:pt x="78" y="99"/>
                    <a:pt x="78" y="71"/>
                  </a:cubicBezTo>
                  <a:cubicBezTo>
                    <a:pt x="78" y="44"/>
                    <a:pt x="77" y="37"/>
                    <a:pt x="71" y="3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1" name="Freeform 31"/>
            <p:cNvSpPr>
              <a:spLocks noEditPoints="1"/>
            </p:cNvSpPr>
            <p:nvPr/>
          </p:nvSpPr>
          <p:spPr bwMode="auto">
            <a:xfrm>
              <a:off x="4016375" y="-1457326"/>
              <a:ext cx="95250" cy="128588"/>
            </a:xfrm>
            <a:custGeom>
              <a:avLst/>
              <a:gdLst>
                <a:gd name="T0" fmla="*/ 75 w 107"/>
                <a:gd name="T1" fmla="*/ 142 h 142"/>
                <a:gd name="T2" fmla="*/ 75 w 107"/>
                <a:gd name="T3" fmla="*/ 142 h 142"/>
                <a:gd name="T4" fmla="*/ 47 w 107"/>
                <a:gd name="T5" fmla="*/ 85 h 142"/>
                <a:gd name="T6" fmla="*/ 27 w 107"/>
                <a:gd name="T7" fmla="*/ 85 h 142"/>
                <a:gd name="T8" fmla="*/ 27 w 107"/>
                <a:gd name="T9" fmla="*/ 142 h 142"/>
                <a:gd name="T10" fmla="*/ 0 w 107"/>
                <a:gd name="T11" fmla="*/ 142 h 142"/>
                <a:gd name="T12" fmla="*/ 0 w 107"/>
                <a:gd name="T13" fmla="*/ 0 h 142"/>
                <a:gd name="T14" fmla="*/ 55 w 107"/>
                <a:gd name="T15" fmla="*/ 0 h 142"/>
                <a:gd name="T16" fmla="*/ 102 w 107"/>
                <a:gd name="T17" fmla="*/ 43 h 142"/>
                <a:gd name="T18" fmla="*/ 76 w 107"/>
                <a:gd name="T19" fmla="*/ 80 h 142"/>
                <a:gd name="T20" fmla="*/ 107 w 107"/>
                <a:gd name="T21" fmla="*/ 142 h 142"/>
                <a:gd name="T22" fmla="*/ 75 w 107"/>
                <a:gd name="T23" fmla="*/ 142 h 142"/>
                <a:gd name="T24" fmla="*/ 54 w 107"/>
                <a:gd name="T25" fmla="*/ 24 h 142"/>
                <a:gd name="T26" fmla="*/ 54 w 107"/>
                <a:gd name="T27" fmla="*/ 24 h 142"/>
                <a:gd name="T28" fmla="*/ 27 w 107"/>
                <a:gd name="T29" fmla="*/ 24 h 142"/>
                <a:gd name="T30" fmla="*/ 27 w 107"/>
                <a:gd name="T31" fmla="*/ 62 h 142"/>
                <a:gd name="T32" fmla="*/ 54 w 107"/>
                <a:gd name="T33" fmla="*/ 62 h 142"/>
                <a:gd name="T34" fmla="*/ 74 w 107"/>
                <a:gd name="T35" fmla="*/ 43 h 142"/>
                <a:gd name="T36" fmla="*/ 54 w 107"/>
                <a:gd name="T37" fmla="*/ 2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7" h="142">
                  <a:moveTo>
                    <a:pt x="75" y="142"/>
                  </a:moveTo>
                  <a:lnTo>
                    <a:pt x="75" y="142"/>
                  </a:lnTo>
                  <a:lnTo>
                    <a:pt x="47" y="85"/>
                  </a:lnTo>
                  <a:lnTo>
                    <a:pt x="27" y="85"/>
                  </a:lnTo>
                  <a:lnTo>
                    <a:pt x="27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55" y="0"/>
                  </a:lnTo>
                  <a:cubicBezTo>
                    <a:pt x="84" y="0"/>
                    <a:pt x="102" y="19"/>
                    <a:pt x="102" y="43"/>
                  </a:cubicBezTo>
                  <a:cubicBezTo>
                    <a:pt x="102" y="63"/>
                    <a:pt x="89" y="75"/>
                    <a:pt x="76" y="80"/>
                  </a:cubicBezTo>
                  <a:lnTo>
                    <a:pt x="107" y="142"/>
                  </a:lnTo>
                  <a:lnTo>
                    <a:pt x="75" y="142"/>
                  </a:lnTo>
                  <a:close/>
                  <a:moveTo>
                    <a:pt x="54" y="24"/>
                  </a:moveTo>
                  <a:lnTo>
                    <a:pt x="54" y="24"/>
                  </a:lnTo>
                  <a:lnTo>
                    <a:pt x="27" y="24"/>
                  </a:lnTo>
                  <a:lnTo>
                    <a:pt x="27" y="62"/>
                  </a:lnTo>
                  <a:lnTo>
                    <a:pt x="54" y="62"/>
                  </a:lnTo>
                  <a:cubicBezTo>
                    <a:pt x="66" y="62"/>
                    <a:pt x="74" y="54"/>
                    <a:pt x="74" y="43"/>
                  </a:cubicBezTo>
                  <a:cubicBezTo>
                    <a:pt x="74" y="32"/>
                    <a:pt x="66" y="24"/>
                    <a:pt x="54" y="2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2" name="Freeform 32"/>
            <p:cNvSpPr>
              <a:spLocks/>
            </p:cNvSpPr>
            <p:nvPr/>
          </p:nvSpPr>
          <p:spPr bwMode="auto">
            <a:xfrm>
              <a:off x="4122738" y="-1457326"/>
              <a:ext cx="92075" cy="128588"/>
            </a:xfrm>
            <a:custGeom>
              <a:avLst/>
              <a:gdLst>
                <a:gd name="T0" fmla="*/ 0 w 103"/>
                <a:gd name="T1" fmla="*/ 0 h 142"/>
                <a:gd name="T2" fmla="*/ 0 w 103"/>
                <a:gd name="T3" fmla="*/ 0 h 142"/>
                <a:gd name="T4" fmla="*/ 0 w 103"/>
                <a:gd name="T5" fmla="*/ 24 h 142"/>
                <a:gd name="T6" fmla="*/ 38 w 103"/>
                <a:gd name="T7" fmla="*/ 24 h 142"/>
                <a:gd name="T8" fmla="*/ 38 w 103"/>
                <a:gd name="T9" fmla="*/ 142 h 142"/>
                <a:gd name="T10" fmla="*/ 65 w 103"/>
                <a:gd name="T11" fmla="*/ 142 h 142"/>
                <a:gd name="T12" fmla="*/ 65 w 103"/>
                <a:gd name="T13" fmla="*/ 24 h 142"/>
                <a:gd name="T14" fmla="*/ 103 w 103"/>
                <a:gd name="T15" fmla="*/ 24 h 142"/>
                <a:gd name="T16" fmla="*/ 103 w 103"/>
                <a:gd name="T17" fmla="*/ 0 h 142"/>
                <a:gd name="T18" fmla="*/ 0 w 103"/>
                <a:gd name="T1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142">
                  <a:moveTo>
                    <a:pt x="0" y="0"/>
                  </a:moveTo>
                  <a:lnTo>
                    <a:pt x="0" y="0"/>
                  </a:lnTo>
                  <a:lnTo>
                    <a:pt x="0" y="24"/>
                  </a:lnTo>
                  <a:lnTo>
                    <a:pt x="38" y="24"/>
                  </a:lnTo>
                  <a:lnTo>
                    <a:pt x="38" y="142"/>
                  </a:lnTo>
                  <a:lnTo>
                    <a:pt x="65" y="142"/>
                  </a:lnTo>
                  <a:lnTo>
                    <a:pt x="65" y="24"/>
                  </a:lnTo>
                  <a:lnTo>
                    <a:pt x="103" y="24"/>
                  </a:lnTo>
                  <a:lnTo>
                    <a:pt x="1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53" name="Emptying Blue text"/>
          <p:cNvGrpSpPr/>
          <p:nvPr/>
        </p:nvGrpSpPr>
        <p:grpSpPr>
          <a:xfrm>
            <a:off x="2982059" y="1637712"/>
            <a:ext cx="690552" cy="106039"/>
            <a:chOff x="2265363" y="-819151"/>
            <a:chExt cx="847725" cy="130175"/>
          </a:xfrm>
          <a:solidFill>
            <a:schemeClr val="accent3">
              <a:lumMod val="75000"/>
            </a:schemeClr>
          </a:solidFill>
        </p:grpSpPr>
        <p:sp>
          <p:nvSpPr>
            <p:cNvPr id="254" name="Freeform 16"/>
            <p:cNvSpPr>
              <a:spLocks/>
            </p:cNvSpPr>
            <p:nvPr/>
          </p:nvSpPr>
          <p:spPr bwMode="auto">
            <a:xfrm>
              <a:off x="2265363" y="-819151"/>
              <a:ext cx="84138" cy="128588"/>
            </a:xfrm>
            <a:custGeom>
              <a:avLst/>
              <a:gdLst>
                <a:gd name="T0" fmla="*/ 0 w 94"/>
                <a:gd name="T1" fmla="*/ 142 h 142"/>
                <a:gd name="T2" fmla="*/ 0 w 94"/>
                <a:gd name="T3" fmla="*/ 142 h 142"/>
                <a:gd name="T4" fmla="*/ 0 w 94"/>
                <a:gd name="T5" fmla="*/ 0 h 142"/>
                <a:gd name="T6" fmla="*/ 94 w 94"/>
                <a:gd name="T7" fmla="*/ 0 h 142"/>
                <a:gd name="T8" fmla="*/ 94 w 94"/>
                <a:gd name="T9" fmla="*/ 25 h 142"/>
                <a:gd name="T10" fmla="*/ 28 w 94"/>
                <a:gd name="T11" fmla="*/ 25 h 142"/>
                <a:gd name="T12" fmla="*/ 28 w 94"/>
                <a:gd name="T13" fmla="*/ 58 h 142"/>
                <a:gd name="T14" fmla="*/ 84 w 94"/>
                <a:gd name="T15" fmla="*/ 58 h 142"/>
                <a:gd name="T16" fmla="*/ 84 w 94"/>
                <a:gd name="T17" fmla="*/ 83 h 142"/>
                <a:gd name="T18" fmla="*/ 28 w 94"/>
                <a:gd name="T19" fmla="*/ 83 h 142"/>
                <a:gd name="T20" fmla="*/ 28 w 94"/>
                <a:gd name="T21" fmla="*/ 118 h 142"/>
                <a:gd name="T22" fmla="*/ 94 w 94"/>
                <a:gd name="T23" fmla="*/ 118 h 142"/>
                <a:gd name="T24" fmla="*/ 94 w 94"/>
                <a:gd name="T25" fmla="*/ 142 h 142"/>
                <a:gd name="T26" fmla="*/ 0 w 94"/>
                <a:gd name="T27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4" h="142">
                  <a:moveTo>
                    <a:pt x="0" y="142"/>
                  </a:moveTo>
                  <a:lnTo>
                    <a:pt x="0" y="142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25"/>
                  </a:lnTo>
                  <a:lnTo>
                    <a:pt x="28" y="25"/>
                  </a:lnTo>
                  <a:lnTo>
                    <a:pt x="28" y="58"/>
                  </a:lnTo>
                  <a:lnTo>
                    <a:pt x="84" y="58"/>
                  </a:lnTo>
                  <a:lnTo>
                    <a:pt x="84" y="83"/>
                  </a:lnTo>
                  <a:lnTo>
                    <a:pt x="28" y="83"/>
                  </a:lnTo>
                  <a:lnTo>
                    <a:pt x="28" y="118"/>
                  </a:lnTo>
                  <a:lnTo>
                    <a:pt x="94" y="118"/>
                  </a:lnTo>
                  <a:lnTo>
                    <a:pt x="94" y="142"/>
                  </a:lnTo>
                  <a:lnTo>
                    <a:pt x="0" y="1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5" name="Freeform 17"/>
            <p:cNvSpPr>
              <a:spLocks/>
            </p:cNvSpPr>
            <p:nvPr/>
          </p:nvSpPr>
          <p:spPr bwMode="auto">
            <a:xfrm>
              <a:off x="2371725" y="-819151"/>
              <a:ext cx="115888" cy="128588"/>
            </a:xfrm>
            <a:custGeom>
              <a:avLst/>
              <a:gdLst>
                <a:gd name="T0" fmla="*/ 101 w 129"/>
                <a:gd name="T1" fmla="*/ 142 h 142"/>
                <a:gd name="T2" fmla="*/ 101 w 129"/>
                <a:gd name="T3" fmla="*/ 142 h 142"/>
                <a:gd name="T4" fmla="*/ 101 w 129"/>
                <a:gd name="T5" fmla="*/ 59 h 142"/>
                <a:gd name="T6" fmla="*/ 74 w 129"/>
                <a:gd name="T7" fmla="*/ 113 h 142"/>
                <a:gd name="T8" fmla="*/ 55 w 129"/>
                <a:gd name="T9" fmla="*/ 113 h 142"/>
                <a:gd name="T10" fmla="*/ 28 w 129"/>
                <a:gd name="T11" fmla="*/ 59 h 142"/>
                <a:gd name="T12" fmla="*/ 28 w 129"/>
                <a:gd name="T13" fmla="*/ 142 h 142"/>
                <a:gd name="T14" fmla="*/ 0 w 129"/>
                <a:gd name="T15" fmla="*/ 142 h 142"/>
                <a:gd name="T16" fmla="*/ 0 w 129"/>
                <a:gd name="T17" fmla="*/ 0 h 142"/>
                <a:gd name="T18" fmla="*/ 27 w 129"/>
                <a:gd name="T19" fmla="*/ 0 h 142"/>
                <a:gd name="T20" fmla="*/ 64 w 129"/>
                <a:gd name="T21" fmla="*/ 77 h 142"/>
                <a:gd name="T22" fmla="*/ 101 w 129"/>
                <a:gd name="T23" fmla="*/ 0 h 142"/>
                <a:gd name="T24" fmla="*/ 129 w 129"/>
                <a:gd name="T25" fmla="*/ 0 h 142"/>
                <a:gd name="T26" fmla="*/ 129 w 129"/>
                <a:gd name="T27" fmla="*/ 142 h 142"/>
                <a:gd name="T28" fmla="*/ 101 w 129"/>
                <a:gd name="T2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9" h="142">
                  <a:moveTo>
                    <a:pt x="101" y="142"/>
                  </a:moveTo>
                  <a:lnTo>
                    <a:pt x="101" y="142"/>
                  </a:lnTo>
                  <a:lnTo>
                    <a:pt x="101" y="59"/>
                  </a:lnTo>
                  <a:lnTo>
                    <a:pt x="74" y="113"/>
                  </a:lnTo>
                  <a:lnTo>
                    <a:pt x="55" y="113"/>
                  </a:lnTo>
                  <a:lnTo>
                    <a:pt x="28" y="59"/>
                  </a:lnTo>
                  <a:lnTo>
                    <a:pt x="28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27" y="0"/>
                  </a:lnTo>
                  <a:lnTo>
                    <a:pt x="64" y="77"/>
                  </a:lnTo>
                  <a:lnTo>
                    <a:pt x="101" y="0"/>
                  </a:lnTo>
                  <a:lnTo>
                    <a:pt x="129" y="0"/>
                  </a:lnTo>
                  <a:lnTo>
                    <a:pt x="129" y="142"/>
                  </a:lnTo>
                  <a:lnTo>
                    <a:pt x="101" y="1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6" name="Freeform 18"/>
            <p:cNvSpPr>
              <a:spLocks noEditPoints="1"/>
            </p:cNvSpPr>
            <p:nvPr/>
          </p:nvSpPr>
          <p:spPr bwMode="auto">
            <a:xfrm>
              <a:off x="2516188" y="-819151"/>
              <a:ext cx="90488" cy="128588"/>
            </a:xfrm>
            <a:custGeom>
              <a:avLst/>
              <a:gdLst>
                <a:gd name="T0" fmla="*/ 55 w 102"/>
                <a:gd name="T1" fmla="*/ 89 h 142"/>
                <a:gd name="T2" fmla="*/ 55 w 102"/>
                <a:gd name="T3" fmla="*/ 89 h 142"/>
                <a:gd name="T4" fmla="*/ 28 w 102"/>
                <a:gd name="T5" fmla="*/ 89 h 142"/>
                <a:gd name="T6" fmla="*/ 28 w 102"/>
                <a:gd name="T7" fmla="*/ 142 h 142"/>
                <a:gd name="T8" fmla="*/ 0 w 102"/>
                <a:gd name="T9" fmla="*/ 142 h 142"/>
                <a:gd name="T10" fmla="*/ 0 w 102"/>
                <a:gd name="T11" fmla="*/ 0 h 142"/>
                <a:gd name="T12" fmla="*/ 55 w 102"/>
                <a:gd name="T13" fmla="*/ 0 h 142"/>
                <a:gd name="T14" fmla="*/ 102 w 102"/>
                <a:gd name="T15" fmla="*/ 44 h 142"/>
                <a:gd name="T16" fmla="*/ 55 w 102"/>
                <a:gd name="T17" fmla="*/ 89 h 142"/>
                <a:gd name="T18" fmla="*/ 54 w 102"/>
                <a:gd name="T19" fmla="*/ 25 h 142"/>
                <a:gd name="T20" fmla="*/ 54 w 102"/>
                <a:gd name="T21" fmla="*/ 25 h 142"/>
                <a:gd name="T22" fmla="*/ 28 w 102"/>
                <a:gd name="T23" fmla="*/ 25 h 142"/>
                <a:gd name="T24" fmla="*/ 28 w 102"/>
                <a:gd name="T25" fmla="*/ 64 h 142"/>
                <a:gd name="T26" fmla="*/ 54 w 102"/>
                <a:gd name="T27" fmla="*/ 64 h 142"/>
                <a:gd name="T28" fmla="*/ 74 w 102"/>
                <a:gd name="T29" fmla="*/ 44 h 142"/>
                <a:gd name="T30" fmla="*/ 54 w 102"/>
                <a:gd name="T31" fmla="*/ 2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2" h="142">
                  <a:moveTo>
                    <a:pt x="55" y="89"/>
                  </a:moveTo>
                  <a:lnTo>
                    <a:pt x="55" y="89"/>
                  </a:lnTo>
                  <a:lnTo>
                    <a:pt x="28" y="89"/>
                  </a:lnTo>
                  <a:lnTo>
                    <a:pt x="28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55" y="0"/>
                  </a:lnTo>
                  <a:cubicBezTo>
                    <a:pt x="84" y="0"/>
                    <a:pt x="102" y="20"/>
                    <a:pt x="102" y="44"/>
                  </a:cubicBezTo>
                  <a:cubicBezTo>
                    <a:pt x="102" y="68"/>
                    <a:pt x="84" y="89"/>
                    <a:pt x="55" y="89"/>
                  </a:cubicBezTo>
                  <a:close/>
                  <a:moveTo>
                    <a:pt x="54" y="25"/>
                  </a:moveTo>
                  <a:lnTo>
                    <a:pt x="54" y="25"/>
                  </a:lnTo>
                  <a:lnTo>
                    <a:pt x="28" y="25"/>
                  </a:lnTo>
                  <a:lnTo>
                    <a:pt x="28" y="64"/>
                  </a:lnTo>
                  <a:lnTo>
                    <a:pt x="54" y="64"/>
                  </a:lnTo>
                  <a:cubicBezTo>
                    <a:pt x="66" y="64"/>
                    <a:pt x="74" y="56"/>
                    <a:pt x="74" y="44"/>
                  </a:cubicBezTo>
                  <a:cubicBezTo>
                    <a:pt x="74" y="33"/>
                    <a:pt x="66" y="25"/>
                    <a:pt x="54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7" name="Freeform 19"/>
            <p:cNvSpPr>
              <a:spLocks/>
            </p:cNvSpPr>
            <p:nvPr/>
          </p:nvSpPr>
          <p:spPr bwMode="auto">
            <a:xfrm>
              <a:off x="2620963" y="-819151"/>
              <a:ext cx="90488" cy="128588"/>
            </a:xfrm>
            <a:custGeom>
              <a:avLst/>
              <a:gdLst>
                <a:gd name="T0" fmla="*/ 65 w 102"/>
                <a:gd name="T1" fmla="*/ 25 h 142"/>
                <a:gd name="T2" fmla="*/ 65 w 102"/>
                <a:gd name="T3" fmla="*/ 25 h 142"/>
                <a:gd name="T4" fmla="*/ 65 w 102"/>
                <a:gd name="T5" fmla="*/ 142 h 142"/>
                <a:gd name="T6" fmla="*/ 37 w 102"/>
                <a:gd name="T7" fmla="*/ 142 h 142"/>
                <a:gd name="T8" fmla="*/ 37 w 102"/>
                <a:gd name="T9" fmla="*/ 25 h 142"/>
                <a:gd name="T10" fmla="*/ 0 w 102"/>
                <a:gd name="T11" fmla="*/ 25 h 142"/>
                <a:gd name="T12" fmla="*/ 0 w 102"/>
                <a:gd name="T13" fmla="*/ 0 h 142"/>
                <a:gd name="T14" fmla="*/ 102 w 102"/>
                <a:gd name="T15" fmla="*/ 0 h 142"/>
                <a:gd name="T16" fmla="*/ 102 w 102"/>
                <a:gd name="T17" fmla="*/ 25 h 142"/>
                <a:gd name="T18" fmla="*/ 65 w 102"/>
                <a:gd name="T19" fmla="*/ 2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42">
                  <a:moveTo>
                    <a:pt x="65" y="25"/>
                  </a:moveTo>
                  <a:lnTo>
                    <a:pt x="65" y="25"/>
                  </a:lnTo>
                  <a:lnTo>
                    <a:pt x="65" y="142"/>
                  </a:lnTo>
                  <a:lnTo>
                    <a:pt x="37" y="142"/>
                  </a:lnTo>
                  <a:lnTo>
                    <a:pt x="37" y="25"/>
                  </a:lnTo>
                  <a:lnTo>
                    <a:pt x="0" y="25"/>
                  </a:lnTo>
                  <a:lnTo>
                    <a:pt x="0" y="0"/>
                  </a:lnTo>
                  <a:lnTo>
                    <a:pt x="102" y="0"/>
                  </a:lnTo>
                  <a:lnTo>
                    <a:pt x="102" y="25"/>
                  </a:lnTo>
                  <a:lnTo>
                    <a:pt x="65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8" name="Freeform 20"/>
            <p:cNvSpPr>
              <a:spLocks/>
            </p:cNvSpPr>
            <p:nvPr/>
          </p:nvSpPr>
          <p:spPr bwMode="auto">
            <a:xfrm>
              <a:off x="2725738" y="-819151"/>
              <a:ext cx="100013" cy="128588"/>
            </a:xfrm>
            <a:custGeom>
              <a:avLst/>
              <a:gdLst>
                <a:gd name="T0" fmla="*/ 70 w 113"/>
                <a:gd name="T1" fmla="*/ 84 h 142"/>
                <a:gd name="T2" fmla="*/ 70 w 113"/>
                <a:gd name="T3" fmla="*/ 84 h 142"/>
                <a:gd name="T4" fmla="*/ 70 w 113"/>
                <a:gd name="T5" fmla="*/ 142 h 142"/>
                <a:gd name="T6" fmla="*/ 43 w 113"/>
                <a:gd name="T7" fmla="*/ 142 h 142"/>
                <a:gd name="T8" fmla="*/ 43 w 113"/>
                <a:gd name="T9" fmla="*/ 84 h 142"/>
                <a:gd name="T10" fmla="*/ 0 w 113"/>
                <a:gd name="T11" fmla="*/ 0 h 142"/>
                <a:gd name="T12" fmla="*/ 30 w 113"/>
                <a:gd name="T13" fmla="*/ 0 h 142"/>
                <a:gd name="T14" fmla="*/ 57 w 113"/>
                <a:gd name="T15" fmla="*/ 57 h 142"/>
                <a:gd name="T16" fmla="*/ 83 w 113"/>
                <a:gd name="T17" fmla="*/ 0 h 142"/>
                <a:gd name="T18" fmla="*/ 113 w 113"/>
                <a:gd name="T19" fmla="*/ 0 h 142"/>
                <a:gd name="T20" fmla="*/ 70 w 113"/>
                <a:gd name="T21" fmla="*/ 8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3" h="142">
                  <a:moveTo>
                    <a:pt x="70" y="84"/>
                  </a:moveTo>
                  <a:lnTo>
                    <a:pt x="70" y="84"/>
                  </a:lnTo>
                  <a:lnTo>
                    <a:pt x="70" y="142"/>
                  </a:lnTo>
                  <a:lnTo>
                    <a:pt x="43" y="142"/>
                  </a:lnTo>
                  <a:lnTo>
                    <a:pt x="43" y="84"/>
                  </a:lnTo>
                  <a:lnTo>
                    <a:pt x="0" y="0"/>
                  </a:lnTo>
                  <a:lnTo>
                    <a:pt x="30" y="0"/>
                  </a:lnTo>
                  <a:lnTo>
                    <a:pt x="57" y="57"/>
                  </a:lnTo>
                  <a:lnTo>
                    <a:pt x="83" y="0"/>
                  </a:lnTo>
                  <a:lnTo>
                    <a:pt x="113" y="0"/>
                  </a:lnTo>
                  <a:lnTo>
                    <a:pt x="70" y="8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9" name="Freeform 21"/>
            <p:cNvSpPr>
              <a:spLocks/>
            </p:cNvSpPr>
            <p:nvPr/>
          </p:nvSpPr>
          <p:spPr bwMode="auto">
            <a:xfrm>
              <a:off x="2843213" y="-819151"/>
              <a:ext cx="25400" cy="128588"/>
            </a:xfrm>
            <a:custGeom>
              <a:avLst/>
              <a:gdLst>
                <a:gd name="T0" fmla="*/ 0 w 28"/>
                <a:gd name="T1" fmla="*/ 0 h 142"/>
                <a:gd name="T2" fmla="*/ 0 w 28"/>
                <a:gd name="T3" fmla="*/ 0 h 142"/>
                <a:gd name="T4" fmla="*/ 28 w 28"/>
                <a:gd name="T5" fmla="*/ 0 h 142"/>
                <a:gd name="T6" fmla="*/ 28 w 28"/>
                <a:gd name="T7" fmla="*/ 142 h 142"/>
                <a:gd name="T8" fmla="*/ 0 w 28"/>
                <a:gd name="T9" fmla="*/ 142 h 142"/>
                <a:gd name="T10" fmla="*/ 0 w 28"/>
                <a:gd name="T11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142">
                  <a:moveTo>
                    <a:pt x="0" y="0"/>
                  </a:moveTo>
                  <a:lnTo>
                    <a:pt x="0" y="0"/>
                  </a:lnTo>
                  <a:lnTo>
                    <a:pt x="28" y="0"/>
                  </a:lnTo>
                  <a:lnTo>
                    <a:pt x="28" y="142"/>
                  </a:lnTo>
                  <a:lnTo>
                    <a:pt x="0" y="14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0" name="Freeform 22"/>
            <p:cNvSpPr>
              <a:spLocks/>
            </p:cNvSpPr>
            <p:nvPr/>
          </p:nvSpPr>
          <p:spPr bwMode="auto">
            <a:xfrm>
              <a:off x="2897188" y="-819151"/>
              <a:ext cx="96838" cy="128588"/>
            </a:xfrm>
            <a:custGeom>
              <a:avLst/>
              <a:gdLst>
                <a:gd name="T0" fmla="*/ 84 w 109"/>
                <a:gd name="T1" fmla="*/ 142 h 142"/>
                <a:gd name="T2" fmla="*/ 84 w 109"/>
                <a:gd name="T3" fmla="*/ 142 h 142"/>
                <a:gd name="T4" fmla="*/ 28 w 109"/>
                <a:gd name="T5" fmla="*/ 55 h 142"/>
                <a:gd name="T6" fmla="*/ 28 w 109"/>
                <a:gd name="T7" fmla="*/ 142 h 142"/>
                <a:gd name="T8" fmla="*/ 0 w 109"/>
                <a:gd name="T9" fmla="*/ 142 h 142"/>
                <a:gd name="T10" fmla="*/ 0 w 109"/>
                <a:gd name="T11" fmla="*/ 0 h 142"/>
                <a:gd name="T12" fmla="*/ 25 w 109"/>
                <a:gd name="T13" fmla="*/ 0 h 142"/>
                <a:gd name="T14" fmla="*/ 81 w 109"/>
                <a:gd name="T15" fmla="*/ 87 h 142"/>
                <a:gd name="T16" fmla="*/ 81 w 109"/>
                <a:gd name="T17" fmla="*/ 0 h 142"/>
                <a:gd name="T18" fmla="*/ 109 w 109"/>
                <a:gd name="T19" fmla="*/ 0 h 142"/>
                <a:gd name="T20" fmla="*/ 109 w 109"/>
                <a:gd name="T21" fmla="*/ 142 h 142"/>
                <a:gd name="T22" fmla="*/ 84 w 109"/>
                <a:gd name="T23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142">
                  <a:moveTo>
                    <a:pt x="84" y="142"/>
                  </a:moveTo>
                  <a:lnTo>
                    <a:pt x="84" y="142"/>
                  </a:lnTo>
                  <a:lnTo>
                    <a:pt x="28" y="55"/>
                  </a:lnTo>
                  <a:lnTo>
                    <a:pt x="28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25" y="0"/>
                  </a:lnTo>
                  <a:lnTo>
                    <a:pt x="81" y="87"/>
                  </a:lnTo>
                  <a:lnTo>
                    <a:pt x="81" y="0"/>
                  </a:lnTo>
                  <a:lnTo>
                    <a:pt x="109" y="0"/>
                  </a:lnTo>
                  <a:lnTo>
                    <a:pt x="109" y="142"/>
                  </a:lnTo>
                  <a:lnTo>
                    <a:pt x="84" y="1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1" name="Freeform 23"/>
            <p:cNvSpPr>
              <a:spLocks/>
            </p:cNvSpPr>
            <p:nvPr/>
          </p:nvSpPr>
          <p:spPr bwMode="auto">
            <a:xfrm>
              <a:off x="3017838" y="-819151"/>
              <a:ext cx="95250" cy="130175"/>
            </a:xfrm>
            <a:custGeom>
              <a:avLst/>
              <a:gdLst>
                <a:gd name="T0" fmla="*/ 93 w 107"/>
                <a:gd name="T1" fmla="*/ 128 h 145"/>
                <a:gd name="T2" fmla="*/ 93 w 107"/>
                <a:gd name="T3" fmla="*/ 128 h 145"/>
                <a:gd name="T4" fmla="*/ 53 w 107"/>
                <a:gd name="T5" fmla="*/ 145 h 145"/>
                <a:gd name="T6" fmla="*/ 15 w 107"/>
                <a:gd name="T7" fmla="*/ 129 h 145"/>
                <a:gd name="T8" fmla="*/ 1 w 107"/>
                <a:gd name="T9" fmla="*/ 72 h 145"/>
                <a:gd name="T10" fmla="*/ 15 w 107"/>
                <a:gd name="T11" fmla="*/ 15 h 145"/>
                <a:gd name="T12" fmla="*/ 53 w 107"/>
                <a:gd name="T13" fmla="*/ 0 h 145"/>
                <a:gd name="T14" fmla="*/ 107 w 107"/>
                <a:gd name="T15" fmla="*/ 45 h 145"/>
                <a:gd name="T16" fmla="*/ 79 w 107"/>
                <a:gd name="T17" fmla="*/ 45 h 145"/>
                <a:gd name="T18" fmla="*/ 53 w 107"/>
                <a:gd name="T19" fmla="*/ 25 h 145"/>
                <a:gd name="T20" fmla="*/ 35 w 107"/>
                <a:gd name="T21" fmla="*/ 32 h 145"/>
                <a:gd name="T22" fmla="*/ 29 w 107"/>
                <a:gd name="T23" fmla="*/ 72 h 145"/>
                <a:gd name="T24" fmla="*/ 35 w 107"/>
                <a:gd name="T25" fmla="*/ 112 h 145"/>
                <a:gd name="T26" fmla="*/ 53 w 107"/>
                <a:gd name="T27" fmla="*/ 120 h 145"/>
                <a:gd name="T28" fmla="*/ 73 w 107"/>
                <a:gd name="T29" fmla="*/ 112 h 145"/>
                <a:gd name="T30" fmla="*/ 79 w 107"/>
                <a:gd name="T31" fmla="*/ 93 h 145"/>
                <a:gd name="T32" fmla="*/ 79 w 107"/>
                <a:gd name="T33" fmla="*/ 87 h 145"/>
                <a:gd name="T34" fmla="*/ 53 w 107"/>
                <a:gd name="T35" fmla="*/ 87 h 145"/>
                <a:gd name="T36" fmla="*/ 53 w 107"/>
                <a:gd name="T37" fmla="*/ 64 h 145"/>
                <a:gd name="T38" fmla="*/ 107 w 107"/>
                <a:gd name="T39" fmla="*/ 64 h 145"/>
                <a:gd name="T40" fmla="*/ 107 w 107"/>
                <a:gd name="T41" fmla="*/ 85 h 145"/>
                <a:gd name="T42" fmla="*/ 93 w 107"/>
                <a:gd name="T43" fmla="*/ 128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7" h="145">
                  <a:moveTo>
                    <a:pt x="93" y="128"/>
                  </a:moveTo>
                  <a:lnTo>
                    <a:pt x="93" y="128"/>
                  </a:lnTo>
                  <a:cubicBezTo>
                    <a:pt x="82" y="140"/>
                    <a:pt x="68" y="145"/>
                    <a:pt x="53" y="145"/>
                  </a:cubicBezTo>
                  <a:cubicBezTo>
                    <a:pt x="38" y="145"/>
                    <a:pt x="25" y="139"/>
                    <a:pt x="15" y="129"/>
                  </a:cubicBezTo>
                  <a:cubicBezTo>
                    <a:pt x="0" y="115"/>
                    <a:pt x="1" y="97"/>
                    <a:pt x="1" y="72"/>
                  </a:cubicBezTo>
                  <a:cubicBezTo>
                    <a:pt x="1" y="48"/>
                    <a:pt x="0" y="30"/>
                    <a:pt x="15" y="15"/>
                  </a:cubicBezTo>
                  <a:cubicBezTo>
                    <a:pt x="25" y="5"/>
                    <a:pt x="37" y="0"/>
                    <a:pt x="53" y="0"/>
                  </a:cubicBezTo>
                  <a:cubicBezTo>
                    <a:pt x="86" y="0"/>
                    <a:pt x="103" y="21"/>
                    <a:pt x="107" y="45"/>
                  </a:cubicBezTo>
                  <a:lnTo>
                    <a:pt x="79" y="45"/>
                  </a:lnTo>
                  <a:cubicBezTo>
                    <a:pt x="76" y="32"/>
                    <a:pt x="67" y="25"/>
                    <a:pt x="53" y="25"/>
                  </a:cubicBezTo>
                  <a:cubicBezTo>
                    <a:pt x="46" y="25"/>
                    <a:pt x="39" y="28"/>
                    <a:pt x="35" y="32"/>
                  </a:cubicBezTo>
                  <a:cubicBezTo>
                    <a:pt x="30" y="38"/>
                    <a:pt x="29" y="45"/>
                    <a:pt x="29" y="72"/>
                  </a:cubicBezTo>
                  <a:cubicBezTo>
                    <a:pt x="29" y="100"/>
                    <a:pt x="30" y="106"/>
                    <a:pt x="35" y="112"/>
                  </a:cubicBezTo>
                  <a:cubicBezTo>
                    <a:pt x="39" y="117"/>
                    <a:pt x="46" y="120"/>
                    <a:pt x="53" y="120"/>
                  </a:cubicBezTo>
                  <a:cubicBezTo>
                    <a:pt x="62" y="120"/>
                    <a:pt x="68" y="117"/>
                    <a:pt x="73" y="112"/>
                  </a:cubicBezTo>
                  <a:cubicBezTo>
                    <a:pt x="78" y="107"/>
                    <a:pt x="79" y="100"/>
                    <a:pt x="79" y="93"/>
                  </a:cubicBezTo>
                  <a:lnTo>
                    <a:pt x="79" y="87"/>
                  </a:lnTo>
                  <a:lnTo>
                    <a:pt x="53" y="87"/>
                  </a:lnTo>
                  <a:lnTo>
                    <a:pt x="53" y="64"/>
                  </a:lnTo>
                  <a:lnTo>
                    <a:pt x="107" y="64"/>
                  </a:lnTo>
                  <a:lnTo>
                    <a:pt x="107" y="85"/>
                  </a:lnTo>
                  <a:cubicBezTo>
                    <a:pt x="107" y="106"/>
                    <a:pt x="103" y="118"/>
                    <a:pt x="93" y="1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06" name="Containment blue"/>
          <p:cNvSpPr/>
          <p:nvPr/>
        </p:nvSpPr>
        <p:spPr>
          <a:xfrm>
            <a:off x="1106424" y="1463039"/>
            <a:ext cx="1280160" cy="292779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15" name="Containment text Blue"/>
          <p:cNvGrpSpPr/>
          <p:nvPr/>
        </p:nvGrpSpPr>
        <p:grpSpPr>
          <a:xfrm>
            <a:off x="1258662" y="1637712"/>
            <a:ext cx="978930" cy="106039"/>
            <a:chOff x="85725" y="-819151"/>
            <a:chExt cx="1201738" cy="130175"/>
          </a:xfrm>
          <a:solidFill>
            <a:schemeClr val="accent3">
              <a:lumMod val="75000"/>
            </a:schemeClr>
          </a:solidFill>
        </p:grpSpPr>
        <p:sp>
          <p:nvSpPr>
            <p:cNvPr id="216" name="Freeform 5"/>
            <p:cNvSpPr>
              <a:spLocks/>
            </p:cNvSpPr>
            <p:nvPr/>
          </p:nvSpPr>
          <p:spPr bwMode="auto">
            <a:xfrm>
              <a:off x="85725" y="-819151"/>
              <a:ext cx="92075" cy="130175"/>
            </a:xfrm>
            <a:custGeom>
              <a:avLst/>
              <a:gdLst>
                <a:gd name="T0" fmla="*/ 52 w 104"/>
                <a:gd name="T1" fmla="*/ 144 h 144"/>
                <a:gd name="T2" fmla="*/ 52 w 104"/>
                <a:gd name="T3" fmla="*/ 144 h 144"/>
                <a:gd name="T4" fmla="*/ 14 w 104"/>
                <a:gd name="T5" fmla="*/ 129 h 144"/>
                <a:gd name="T6" fmla="*/ 0 w 104"/>
                <a:gd name="T7" fmla="*/ 72 h 144"/>
                <a:gd name="T8" fmla="*/ 14 w 104"/>
                <a:gd name="T9" fmla="*/ 15 h 144"/>
                <a:gd name="T10" fmla="*/ 52 w 104"/>
                <a:gd name="T11" fmla="*/ 0 h 144"/>
                <a:gd name="T12" fmla="*/ 104 w 104"/>
                <a:gd name="T13" fmla="*/ 45 h 144"/>
                <a:gd name="T14" fmla="*/ 76 w 104"/>
                <a:gd name="T15" fmla="*/ 45 h 144"/>
                <a:gd name="T16" fmla="*/ 52 w 104"/>
                <a:gd name="T17" fmla="*/ 25 h 144"/>
                <a:gd name="T18" fmla="*/ 34 w 104"/>
                <a:gd name="T19" fmla="*/ 32 h 144"/>
                <a:gd name="T20" fmla="*/ 27 w 104"/>
                <a:gd name="T21" fmla="*/ 72 h 144"/>
                <a:gd name="T22" fmla="*/ 34 w 104"/>
                <a:gd name="T23" fmla="*/ 112 h 144"/>
                <a:gd name="T24" fmla="*/ 52 w 104"/>
                <a:gd name="T25" fmla="*/ 120 h 144"/>
                <a:gd name="T26" fmla="*/ 76 w 104"/>
                <a:gd name="T27" fmla="*/ 99 h 144"/>
                <a:gd name="T28" fmla="*/ 104 w 104"/>
                <a:gd name="T29" fmla="*/ 99 h 144"/>
                <a:gd name="T30" fmla="*/ 52 w 104"/>
                <a:gd name="T31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4" h="144">
                  <a:moveTo>
                    <a:pt x="52" y="144"/>
                  </a:moveTo>
                  <a:lnTo>
                    <a:pt x="52" y="144"/>
                  </a:lnTo>
                  <a:cubicBezTo>
                    <a:pt x="36" y="144"/>
                    <a:pt x="24" y="139"/>
                    <a:pt x="14" y="129"/>
                  </a:cubicBezTo>
                  <a:cubicBezTo>
                    <a:pt x="0" y="114"/>
                    <a:pt x="0" y="97"/>
                    <a:pt x="0" y="72"/>
                  </a:cubicBezTo>
                  <a:cubicBezTo>
                    <a:pt x="0" y="48"/>
                    <a:pt x="0" y="30"/>
                    <a:pt x="14" y="15"/>
                  </a:cubicBezTo>
                  <a:cubicBezTo>
                    <a:pt x="24" y="5"/>
                    <a:pt x="36" y="0"/>
                    <a:pt x="52" y="0"/>
                  </a:cubicBezTo>
                  <a:cubicBezTo>
                    <a:pt x="78" y="0"/>
                    <a:pt x="99" y="15"/>
                    <a:pt x="104" y="45"/>
                  </a:cubicBezTo>
                  <a:lnTo>
                    <a:pt x="76" y="45"/>
                  </a:lnTo>
                  <a:cubicBezTo>
                    <a:pt x="73" y="33"/>
                    <a:pt x="66" y="25"/>
                    <a:pt x="52" y="25"/>
                  </a:cubicBezTo>
                  <a:cubicBezTo>
                    <a:pt x="44" y="25"/>
                    <a:pt x="38" y="27"/>
                    <a:pt x="34" y="32"/>
                  </a:cubicBezTo>
                  <a:cubicBezTo>
                    <a:pt x="29" y="38"/>
                    <a:pt x="27" y="45"/>
                    <a:pt x="27" y="72"/>
                  </a:cubicBezTo>
                  <a:cubicBezTo>
                    <a:pt x="27" y="99"/>
                    <a:pt x="29" y="106"/>
                    <a:pt x="34" y="112"/>
                  </a:cubicBezTo>
                  <a:cubicBezTo>
                    <a:pt x="38" y="117"/>
                    <a:pt x="44" y="120"/>
                    <a:pt x="52" y="120"/>
                  </a:cubicBezTo>
                  <a:cubicBezTo>
                    <a:pt x="66" y="120"/>
                    <a:pt x="73" y="111"/>
                    <a:pt x="76" y="99"/>
                  </a:cubicBezTo>
                  <a:lnTo>
                    <a:pt x="104" y="99"/>
                  </a:lnTo>
                  <a:cubicBezTo>
                    <a:pt x="99" y="129"/>
                    <a:pt x="78" y="144"/>
                    <a:pt x="52" y="1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7" name="Freeform 6"/>
            <p:cNvSpPr>
              <a:spLocks noEditPoints="1"/>
            </p:cNvSpPr>
            <p:nvPr/>
          </p:nvSpPr>
          <p:spPr bwMode="auto">
            <a:xfrm>
              <a:off x="196850" y="-819151"/>
              <a:ext cx="93663" cy="130175"/>
            </a:xfrm>
            <a:custGeom>
              <a:avLst/>
              <a:gdLst>
                <a:gd name="T0" fmla="*/ 91 w 105"/>
                <a:gd name="T1" fmla="*/ 129 h 144"/>
                <a:gd name="T2" fmla="*/ 91 w 105"/>
                <a:gd name="T3" fmla="*/ 129 h 144"/>
                <a:gd name="T4" fmla="*/ 53 w 105"/>
                <a:gd name="T5" fmla="*/ 144 h 144"/>
                <a:gd name="T6" fmla="*/ 14 w 105"/>
                <a:gd name="T7" fmla="*/ 129 h 144"/>
                <a:gd name="T8" fmla="*/ 0 w 105"/>
                <a:gd name="T9" fmla="*/ 72 h 144"/>
                <a:gd name="T10" fmla="*/ 14 w 105"/>
                <a:gd name="T11" fmla="*/ 15 h 144"/>
                <a:gd name="T12" fmla="*/ 53 w 105"/>
                <a:gd name="T13" fmla="*/ 0 h 144"/>
                <a:gd name="T14" fmla="*/ 91 w 105"/>
                <a:gd name="T15" fmla="*/ 15 h 144"/>
                <a:gd name="T16" fmla="*/ 105 w 105"/>
                <a:gd name="T17" fmla="*/ 72 h 144"/>
                <a:gd name="T18" fmla="*/ 91 w 105"/>
                <a:gd name="T19" fmla="*/ 129 h 144"/>
                <a:gd name="T20" fmla="*/ 70 w 105"/>
                <a:gd name="T21" fmla="*/ 32 h 144"/>
                <a:gd name="T22" fmla="*/ 70 w 105"/>
                <a:gd name="T23" fmla="*/ 32 h 144"/>
                <a:gd name="T24" fmla="*/ 53 w 105"/>
                <a:gd name="T25" fmla="*/ 25 h 144"/>
                <a:gd name="T26" fmla="*/ 35 w 105"/>
                <a:gd name="T27" fmla="*/ 32 h 144"/>
                <a:gd name="T28" fmla="*/ 28 w 105"/>
                <a:gd name="T29" fmla="*/ 72 h 144"/>
                <a:gd name="T30" fmla="*/ 35 w 105"/>
                <a:gd name="T31" fmla="*/ 112 h 144"/>
                <a:gd name="T32" fmla="*/ 53 w 105"/>
                <a:gd name="T33" fmla="*/ 120 h 144"/>
                <a:gd name="T34" fmla="*/ 70 w 105"/>
                <a:gd name="T35" fmla="*/ 112 h 144"/>
                <a:gd name="T36" fmla="*/ 77 w 105"/>
                <a:gd name="T37" fmla="*/ 72 h 144"/>
                <a:gd name="T38" fmla="*/ 70 w 105"/>
                <a:gd name="T39" fmla="*/ 3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" h="144">
                  <a:moveTo>
                    <a:pt x="91" y="129"/>
                  </a:moveTo>
                  <a:lnTo>
                    <a:pt x="91" y="129"/>
                  </a:lnTo>
                  <a:cubicBezTo>
                    <a:pt x="81" y="139"/>
                    <a:pt x="69" y="144"/>
                    <a:pt x="53" y="144"/>
                  </a:cubicBezTo>
                  <a:cubicBezTo>
                    <a:pt x="36" y="144"/>
                    <a:pt x="24" y="139"/>
                    <a:pt x="14" y="129"/>
                  </a:cubicBezTo>
                  <a:cubicBezTo>
                    <a:pt x="0" y="114"/>
                    <a:pt x="0" y="97"/>
                    <a:pt x="0" y="72"/>
                  </a:cubicBezTo>
                  <a:cubicBezTo>
                    <a:pt x="0" y="48"/>
                    <a:pt x="0" y="30"/>
                    <a:pt x="14" y="15"/>
                  </a:cubicBezTo>
                  <a:cubicBezTo>
                    <a:pt x="24" y="5"/>
                    <a:pt x="36" y="0"/>
                    <a:pt x="53" y="0"/>
                  </a:cubicBezTo>
                  <a:cubicBezTo>
                    <a:pt x="69" y="0"/>
                    <a:pt x="81" y="5"/>
                    <a:pt x="91" y="15"/>
                  </a:cubicBezTo>
                  <a:cubicBezTo>
                    <a:pt x="105" y="30"/>
                    <a:pt x="105" y="48"/>
                    <a:pt x="105" y="72"/>
                  </a:cubicBezTo>
                  <a:cubicBezTo>
                    <a:pt x="105" y="97"/>
                    <a:pt x="105" y="114"/>
                    <a:pt x="91" y="129"/>
                  </a:cubicBezTo>
                  <a:close/>
                  <a:moveTo>
                    <a:pt x="70" y="32"/>
                  </a:moveTo>
                  <a:lnTo>
                    <a:pt x="70" y="32"/>
                  </a:lnTo>
                  <a:cubicBezTo>
                    <a:pt x="66" y="28"/>
                    <a:pt x="60" y="25"/>
                    <a:pt x="53" y="25"/>
                  </a:cubicBezTo>
                  <a:cubicBezTo>
                    <a:pt x="45" y="25"/>
                    <a:pt x="39" y="28"/>
                    <a:pt x="35" y="32"/>
                  </a:cubicBezTo>
                  <a:cubicBezTo>
                    <a:pt x="29" y="38"/>
                    <a:pt x="28" y="45"/>
                    <a:pt x="28" y="72"/>
                  </a:cubicBezTo>
                  <a:cubicBezTo>
                    <a:pt x="28" y="99"/>
                    <a:pt x="29" y="106"/>
                    <a:pt x="35" y="112"/>
                  </a:cubicBezTo>
                  <a:cubicBezTo>
                    <a:pt x="39" y="117"/>
                    <a:pt x="45" y="120"/>
                    <a:pt x="53" y="120"/>
                  </a:cubicBezTo>
                  <a:cubicBezTo>
                    <a:pt x="60" y="120"/>
                    <a:pt x="66" y="117"/>
                    <a:pt x="70" y="112"/>
                  </a:cubicBezTo>
                  <a:cubicBezTo>
                    <a:pt x="76" y="106"/>
                    <a:pt x="77" y="99"/>
                    <a:pt x="77" y="72"/>
                  </a:cubicBezTo>
                  <a:cubicBezTo>
                    <a:pt x="77" y="45"/>
                    <a:pt x="76" y="38"/>
                    <a:pt x="70" y="3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8" name="Freeform 7"/>
            <p:cNvSpPr>
              <a:spLocks/>
            </p:cNvSpPr>
            <p:nvPr/>
          </p:nvSpPr>
          <p:spPr bwMode="auto">
            <a:xfrm>
              <a:off x="315913" y="-819151"/>
              <a:ext cx="96838" cy="128588"/>
            </a:xfrm>
            <a:custGeom>
              <a:avLst/>
              <a:gdLst>
                <a:gd name="T0" fmla="*/ 84 w 109"/>
                <a:gd name="T1" fmla="*/ 142 h 142"/>
                <a:gd name="T2" fmla="*/ 84 w 109"/>
                <a:gd name="T3" fmla="*/ 142 h 142"/>
                <a:gd name="T4" fmla="*/ 28 w 109"/>
                <a:gd name="T5" fmla="*/ 55 h 142"/>
                <a:gd name="T6" fmla="*/ 28 w 109"/>
                <a:gd name="T7" fmla="*/ 142 h 142"/>
                <a:gd name="T8" fmla="*/ 0 w 109"/>
                <a:gd name="T9" fmla="*/ 142 h 142"/>
                <a:gd name="T10" fmla="*/ 0 w 109"/>
                <a:gd name="T11" fmla="*/ 0 h 142"/>
                <a:gd name="T12" fmla="*/ 25 w 109"/>
                <a:gd name="T13" fmla="*/ 0 h 142"/>
                <a:gd name="T14" fmla="*/ 81 w 109"/>
                <a:gd name="T15" fmla="*/ 87 h 142"/>
                <a:gd name="T16" fmla="*/ 81 w 109"/>
                <a:gd name="T17" fmla="*/ 0 h 142"/>
                <a:gd name="T18" fmla="*/ 109 w 109"/>
                <a:gd name="T19" fmla="*/ 0 h 142"/>
                <a:gd name="T20" fmla="*/ 109 w 109"/>
                <a:gd name="T21" fmla="*/ 142 h 142"/>
                <a:gd name="T22" fmla="*/ 84 w 109"/>
                <a:gd name="T23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142">
                  <a:moveTo>
                    <a:pt x="84" y="142"/>
                  </a:moveTo>
                  <a:lnTo>
                    <a:pt x="84" y="142"/>
                  </a:lnTo>
                  <a:lnTo>
                    <a:pt x="28" y="55"/>
                  </a:lnTo>
                  <a:lnTo>
                    <a:pt x="28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25" y="0"/>
                  </a:lnTo>
                  <a:lnTo>
                    <a:pt x="81" y="87"/>
                  </a:lnTo>
                  <a:lnTo>
                    <a:pt x="81" y="0"/>
                  </a:lnTo>
                  <a:lnTo>
                    <a:pt x="109" y="0"/>
                  </a:lnTo>
                  <a:lnTo>
                    <a:pt x="109" y="142"/>
                  </a:lnTo>
                  <a:lnTo>
                    <a:pt x="84" y="1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9" name="Freeform 8"/>
            <p:cNvSpPr>
              <a:spLocks/>
            </p:cNvSpPr>
            <p:nvPr/>
          </p:nvSpPr>
          <p:spPr bwMode="auto">
            <a:xfrm>
              <a:off x="431800" y="-819151"/>
              <a:ext cx="92075" cy="128588"/>
            </a:xfrm>
            <a:custGeom>
              <a:avLst/>
              <a:gdLst>
                <a:gd name="T0" fmla="*/ 65 w 103"/>
                <a:gd name="T1" fmla="*/ 25 h 142"/>
                <a:gd name="T2" fmla="*/ 65 w 103"/>
                <a:gd name="T3" fmla="*/ 25 h 142"/>
                <a:gd name="T4" fmla="*/ 65 w 103"/>
                <a:gd name="T5" fmla="*/ 142 h 142"/>
                <a:gd name="T6" fmla="*/ 38 w 103"/>
                <a:gd name="T7" fmla="*/ 142 h 142"/>
                <a:gd name="T8" fmla="*/ 38 w 103"/>
                <a:gd name="T9" fmla="*/ 25 h 142"/>
                <a:gd name="T10" fmla="*/ 0 w 103"/>
                <a:gd name="T11" fmla="*/ 25 h 142"/>
                <a:gd name="T12" fmla="*/ 0 w 103"/>
                <a:gd name="T13" fmla="*/ 0 h 142"/>
                <a:gd name="T14" fmla="*/ 103 w 103"/>
                <a:gd name="T15" fmla="*/ 0 h 142"/>
                <a:gd name="T16" fmla="*/ 103 w 103"/>
                <a:gd name="T17" fmla="*/ 25 h 142"/>
                <a:gd name="T18" fmla="*/ 65 w 103"/>
                <a:gd name="T19" fmla="*/ 2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142">
                  <a:moveTo>
                    <a:pt x="65" y="25"/>
                  </a:moveTo>
                  <a:lnTo>
                    <a:pt x="65" y="25"/>
                  </a:lnTo>
                  <a:lnTo>
                    <a:pt x="65" y="142"/>
                  </a:lnTo>
                  <a:lnTo>
                    <a:pt x="38" y="142"/>
                  </a:lnTo>
                  <a:lnTo>
                    <a:pt x="38" y="25"/>
                  </a:lnTo>
                  <a:lnTo>
                    <a:pt x="0" y="25"/>
                  </a:lnTo>
                  <a:lnTo>
                    <a:pt x="0" y="0"/>
                  </a:lnTo>
                  <a:lnTo>
                    <a:pt x="103" y="0"/>
                  </a:lnTo>
                  <a:lnTo>
                    <a:pt x="103" y="25"/>
                  </a:lnTo>
                  <a:lnTo>
                    <a:pt x="65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0" name="Freeform 9"/>
            <p:cNvSpPr>
              <a:spLocks noEditPoints="1"/>
            </p:cNvSpPr>
            <p:nvPr/>
          </p:nvSpPr>
          <p:spPr bwMode="auto">
            <a:xfrm>
              <a:off x="520700" y="-819151"/>
              <a:ext cx="111125" cy="128588"/>
            </a:xfrm>
            <a:custGeom>
              <a:avLst/>
              <a:gdLst>
                <a:gd name="T0" fmla="*/ 96 w 125"/>
                <a:gd name="T1" fmla="*/ 142 h 142"/>
                <a:gd name="T2" fmla="*/ 96 w 125"/>
                <a:gd name="T3" fmla="*/ 142 h 142"/>
                <a:gd name="T4" fmla="*/ 88 w 125"/>
                <a:gd name="T5" fmla="*/ 117 h 142"/>
                <a:gd name="T6" fmla="*/ 37 w 125"/>
                <a:gd name="T7" fmla="*/ 117 h 142"/>
                <a:gd name="T8" fmla="*/ 29 w 125"/>
                <a:gd name="T9" fmla="*/ 142 h 142"/>
                <a:gd name="T10" fmla="*/ 0 w 125"/>
                <a:gd name="T11" fmla="*/ 142 h 142"/>
                <a:gd name="T12" fmla="*/ 51 w 125"/>
                <a:gd name="T13" fmla="*/ 0 h 142"/>
                <a:gd name="T14" fmla="*/ 73 w 125"/>
                <a:gd name="T15" fmla="*/ 0 h 142"/>
                <a:gd name="T16" fmla="*/ 125 w 125"/>
                <a:gd name="T17" fmla="*/ 142 h 142"/>
                <a:gd name="T18" fmla="*/ 96 w 125"/>
                <a:gd name="T19" fmla="*/ 142 h 142"/>
                <a:gd name="T20" fmla="*/ 63 w 125"/>
                <a:gd name="T21" fmla="*/ 42 h 142"/>
                <a:gd name="T22" fmla="*/ 63 w 125"/>
                <a:gd name="T23" fmla="*/ 42 h 142"/>
                <a:gd name="T24" fmla="*/ 45 w 125"/>
                <a:gd name="T25" fmla="*/ 94 h 142"/>
                <a:gd name="T26" fmla="*/ 80 w 125"/>
                <a:gd name="T27" fmla="*/ 94 h 142"/>
                <a:gd name="T28" fmla="*/ 63 w 125"/>
                <a:gd name="T29" fmla="*/ 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" h="142">
                  <a:moveTo>
                    <a:pt x="96" y="142"/>
                  </a:moveTo>
                  <a:lnTo>
                    <a:pt x="96" y="142"/>
                  </a:lnTo>
                  <a:lnTo>
                    <a:pt x="88" y="117"/>
                  </a:lnTo>
                  <a:lnTo>
                    <a:pt x="37" y="117"/>
                  </a:lnTo>
                  <a:lnTo>
                    <a:pt x="29" y="142"/>
                  </a:lnTo>
                  <a:lnTo>
                    <a:pt x="0" y="142"/>
                  </a:lnTo>
                  <a:lnTo>
                    <a:pt x="51" y="0"/>
                  </a:lnTo>
                  <a:lnTo>
                    <a:pt x="73" y="0"/>
                  </a:lnTo>
                  <a:lnTo>
                    <a:pt x="125" y="142"/>
                  </a:lnTo>
                  <a:lnTo>
                    <a:pt x="96" y="142"/>
                  </a:lnTo>
                  <a:close/>
                  <a:moveTo>
                    <a:pt x="63" y="42"/>
                  </a:moveTo>
                  <a:lnTo>
                    <a:pt x="63" y="42"/>
                  </a:lnTo>
                  <a:lnTo>
                    <a:pt x="45" y="94"/>
                  </a:lnTo>
                  <a:lnTo>
                    <a:pt x="80" y="94"/>
                  </a:lnTo>
                  <a:lnTo>
                    <a:pt x="63" y="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7" name="Freeform 10"/>
            <p:cNvSpPr>
              <a:spLocks/>
            </p:cNvSpPr>
            <p:nvPr/>
          </p:nvSpPr>
          <p:spPr bwMode="auto">
            <a:xfrm>
              <a:off x="649288" y="-819151"/>
              <a:ext cx="25400" cy="128588"/>
            </a:xfrm>
            <a:custGeom>
              <a:avLst/>
              <a:gdLst>
                <a:gd name="T0" fmla="*/ 0 w 28"/>
                <a:gd name="T1" fmla="*/ 0 h 142"/>
                <a:gd name="T2" fmla="*/ 0 w 28"/>
                <a:gd name="T3" fmla="*/ 0 h 142"/>
                <a:gd name="T4" fmla="*/ 28 w 28"/>
                <a:gd name="T5" fmla="*/ 0 h 142"/>
                <a:gd name="T6" fmla="*/ 28 w 28"/>
                <a:gd name="T7" fmla="*/ 142 h 142"/>
                <a:gd name="T8" fmla="*/ 0 w 28"/>
                <a:gd name="T9" fmla="*/ 142 h 142"/>
                <a:gd name="T10" fmla="*/ 0 w 28"/>
                <a:gd name="T11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142">
                  <a:moveTo>
                    <a:pt x="0" y="0"/>
                  </a:moveTo>
                  <a:lnTo>
                    <a:pt x="0" y="0"/>
                  </a:lnTo>
                  <a:lnTo>
                    <a:pt x="28" y="0"/>
                  </a:lnTo>
                  <a:lnTo>
                    <a:pt x="28" y="142"/>
                  </a:lnTo>
                  <a:lnTo>
                    <a:pt x="0" y="14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8" name="Freeform 11"/>
            <p:cNvSpPr>
              <a:spLocks/>
            </p:cNvSpPr>
            <p:nvPr/>
          </p:nvSpPr>
          <p:spPr bwMode="auto">
            <a:xfrm>
              <a:off x="703263" y="-819151"/>
              <a:ext cx="96838" cy="128588"/>
            </a:xfrm>
            <a:custGeom>
              <a:avLst/>
              <a:gdLst>
                <a:gd name="T0" fmla="*/ 84 w 109"/>
                <a:gd name="T1" fmla="*/ 142 h 142"/>
                <a:gd name="T2" fmla="*/ 84 w 109"/>
                <a:gd name="T3" fmla="*/ 142 h 142"/>
                <a:gd name="T4" fmla="*/ 27 w 109"/>
                <a:gd name="T5" fmla="*/ 55 h 142"/>
                <a:gd name="T6" fmla="*/ 27 w 109"/>
                <a:gd name="T7" fmla="*/ 142 h 142"/>
                <a:gd name="T8" fmla="*/ 0 w 109"/>
                <a:gd name="T9" fmla="*/ 142 h 142"/>
                <a:gd name="T10" fmla="*/ 0 w 109"/>
                <a:gd name="T11" fmla="*/ 0 h 142"/>
                <a:gd name="T12" fmla="*/ 24 w 109"/>
                <a:gd name="T13" fmla="*/ 0 h 142"/>
                <a:gd name="T14" fmla="*/ 81 w 109"/>
                <a:gd name="T15" fmla="*/ 87 h 142"/>
                <a:gd name="T16" fmla="*/ 81 w 109"/>
                <a:gd name="T17" fmla="*/ 0 h 142"/>
                <a:gd name="T18" fmla="*/ 109 w 109"/>
                <a:gd name="T19" fmla="*/ 0 h 142"/>
                <a:gd name="T20" fmla="*/ 109 w 109"/>
                <a:gd name="T21" fmla="*/ 142 h 142"/>
                <a:gd name="T22" fmla="*/ 84 w 109"/>
                <a:gd name="T23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142">
                  <a:moveTo>
                    <a:pt x="84" y="142"/>
                  </a:moveTo>
                  <a:lnTo>
                    <a:pt x="84" y="142"/>
                  </a:lnTo>
                  <a:lnTo>
                    <a:pt x="27" y="55"/>
                  </a:lnTo>
                  <a:lnTo>
                    <a:pt x="27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81" y="87"/>
                  </a:lnTo>
                  <a:lnTo>
                    <a:pt x="81" y="0"/>
                  </a:lnTo>
                  <a:lnTo>
                    <a:pt x="109" y="0"/>
                  </a:lnTo>
                  <a:lnTo>
                    <a:pt x="109" y="142"/>
                  </a:lnTo>
                  <a:lnTo>
                    <a:pt x="84" y="1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9" name="Freeform 12"/>
            <p:cNvSpPr>
              <a:spLocks/>
            </p:cNvSpPr>
            <p:nvPr/>
          </p:nvSpPr>
          <p:spPr bwMode="auto">
            <a:xfrm>
              <a:off x="828675" y="-819151"/>
              <a:ext cx="114300" cy="128588"/>
            </a:xfrm>
            <a:custGeom>
              <a:avLst/>
              <a:gdLst>
                <a:gd name="T0" fmla="*/ 102 w 129"/>
                <a:gd name="T1" fmla="*/ 142 h 142"/>
                <a:gd name="T2" fmla="*/ 102 w 129"/>
                <a:gd name="T3" fmla="*/ 142 h 142"/>
                <a:gd name="T4" fmla="*/ 102 w 129"/>
                <a:gd name="T5" fmla="*/ 59 h 142"/>
                <a:gd name="T6" fmla="*/ 74 w 129"/>
                <a:gd name="T7" fmla="*/ 113 h 142"/>
                <a:gd name="T8" fmla="*/ 56 w 129"/>
                <a:gd name="T9" fmla="*/ 113 h 142"/>
                <a:gd name="T10" fmla="*/ 28 w 129"/>
                <a:gd name="T11" fmla="*/ 59 h 142"/>
                <a:gd name="T12" fmla="*/ 28 w 129"/>
                <a:gd name="T13" fmla="*/ 142 h 142"/>
                <a:gd name="T14" fmla="*/ 0 w 129"/>
                <a:gd name="T15" fmla="*/ 142 h 142"/>
                <a:gd name="T16" fmla="*/ 0 w 129"/>
                <a:gd name="T17" fmla="*/ 0 h 142"/>
                <a:gd name="T18" fmla="*/ 28 w 129"/>
                <a:gd name="T19" fmla="*/ 0 h 142"/>
                <a:gd name="T20" fmla="*/ 65 w 129"/>
                <a:gd name="T21" fmla="*/ 77 h 142"/>
                <a:gd name="T22" fmla="*/ 102 w 129"/>
                <a:gd name="T23" fmla="*/ 0 h 142"/>
                <a:gd name="T24" fmla="*/ 129 w 129"/>
                <a:gd name="T25" fmla="*/ 0 h 142"/>
                <a:gd name="T26" fmla="*/ 129 w 129"/>
                <a:gd name="T27" fmla="*/ 142 h 142"/>
                <a:gd name="T28" fmla="*/ 102 w 129"/>
                <a:gd name="T2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9" h="142">
                  <a:moveTo>
                    <a:pt x="102" y="142"/>
                  </a:moveTo>
                  <a:lnTo>
                    <a:pt x="102" y="142"/>
                  </a:lnTo>
                  <a:lnTo>
                    <a:pt x="102" y="59"/>
                  </a:lnTo>
                  <a:lnTo>
                    <a:pt x="74" y="113"/>
                  </a:lnTo>
                  <a:lnTo>
                    <a:pt x="56" y="113"/>
                  </a:lnTo>
                  <a:lnTo>
                    <a:pt x="28" y="59"/>
                  </a:lnTo>
                  <a:lnTo>
                    <a:pt x="28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28" y="0"/>
                  </a:lnTo>
                  <a:lnTo>
                    <a:pt x="65" y="77"/>
                  </a:lnTo>
                  <a:lnTo>
                    <a:pt x="102" y="0"/>
                  </a:lnTo>
                  <a:lnTo>
                    <a:pt x="129" y="0"/>
                  </a:lnTo>
                  <a:lnTo>
                    <a:pt x="129" y="142"/>
                  </a:lnTo>
                  <a:lnTo>
                    <a:pt x="102" y="1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0" name="Freeform 13"/>
            <p:cNvSpPr>
              <a:spLocks/>
            </p:cNvSpPr>
            <p:nvPr/>
          </p:nvSpPr>
          <p:spPr bwMode="auto">
            <a:xfrm>
              <a:off x="971550" y="-819151"/>
              <a:ext cx="84138" cy="128588"/>
            </a:xfrm>
            <a:custGeom>
              <a:avLst/>
              <a:gdLst>
                <a:gd name="T0" fmla="*/ 0 w 94"/>
                <a:gd name="T1" fmla="*/ 142 h 142"/>
                <a:gd name="T2" fmla="*/ 0 w 94"/>
                <a:gd name="T3" fmla="*/ 142 h 142"/>
                <a:gd name="T4" fmla="*/ 0 w 94"/>
                <a:gd name="T5" fmla="*/ 0 h 142"/>
                <a:gd name="T6" fmla="*/ 94 w 94"/>
                <a:gd name="T7" fmla="*/ 0 h 142"/>
                <a:gd name="T8" fmla="*/ 94 w 94"/>
                <a:gd name="T9" fmla="*/ 25 h 142"/>
                <a:gd name="T10" fmla="*/ 28 w 94"/>
                <a:gd name="T11" fmla="*/ 25 h 142"/>
                <a:gd name="T12" fmla="*/ 28 w 94"/>
                <a:gd name="T13" fmla="*/ 58 h 142"/>
                <a:gd name="T14" fmla="*/ 84 w 94"/>
                <a:gd name="T15" fmla="*/ 58 h 142"/>
                <a:gd name="T16" fmla="*/ 84 w 94"/>
                <a:gd name="T17" fmla="*/ 83 h 142"/>
                <a:gd name="T18" fmla="*/ 28 w 94"/>
                <a:gd name="T19" fmla="*/ 83 h 142"/>
                <a:gd name="T20" fmla="*/ 28 w 94"/>
                <a:gd name="T21" fmla="*/ 118 h 142"/>
                <a:gd name="T22" fmla="*/ 94 w 94"/>
                <a:gd name="T23" fmla="*/ 118 h 142"/>
                <a:gd name="T24" fmla="*/ 94 w 94"/>
                <a:gd name="T25" fmla="*/ 142 h 142"/>
                <a:gd name="T26" fmla="*/ 0 w 94"/>
                <a:gd name="T27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4" h="142">
                  <a:moveTo>
                    <a:pt x="0" y="142"/>
                  </a:moveTo>
                  <a:lnTo>
                    <a:pt x="0" y="142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25"/>
                  </a:lnTo>
                  <a:lnTo>
                    <a:pt x="28" y="25"/>
                  </a:lnTo>
                  <a:lnTo>
                    <a:pt x="28" y="58"/>
                  </a:lnTo>
                  <a:lnTo>
                    <a:pt x="84" y="58"/>
                  </a:lnTo>
                  <a:lnTo>
                    <a:pt x="84" y="83"/>
                  </a:lnTo>
                  <a:lnTo>
                    <a:pt x="28" y="83"/>
                  </a:lnTo>
                  <a:lnTo>
                    <a:pt x="28" y="118"/>
                  </a:lnTo>
                  <a:lnTo>
                    <a:pt x="94" y="118"/>
                  </a:lnTo>
                  <a:lnTo>
                    <a:pt x="94" y="142"/>
                  </a:lnTo>
                  <a:lnTo>
                    <a:pt x="0" y="1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1" name="Freeform 14"/>
            <p:cNvSpPr>
              <a:spLocks/>
            </p:cNvSpPr>
            <p:nvPr/>
          </p:nvSpPr>
          <p:spPr bwMode="auto">
            <a:xfrm>
              <a:off x="1077913" y="-819151"/>
              <a:ext cx="98425" cy="128588"/>
            </a:xfrm>
            <a:custGeom>
              <a:avLst/>
              <a:gdLst>
                <a:gd name="T0" fmla="*/ 85 w 109"/>
                <a:gd name="T1" fmla="*/ 142 h 142"/>
                <a:gd name="T2" fmla="*/ 85 w 109"/>
                <a:gd name="T3" fmla="*/ 142 h 142"/>
                <a:gd name="T4" fmla="*/ 28 w 109"/>
                <a:gd name="T5" fmla="*/ 55 h 142"/>
                <a:gd name="T6" fmla="*/ 28 w 109"/>
                <a:gd name="T7" fmla="*/ 142 h 142"/>
                <a:gd name="T8" fmla="*/ 0 w 109"/>
                <a:gd name="T9" fmla="*/ 142 h 142"/>
                <a:gd name="T10" fmla="*/ 0 w 109"/>
                <a:gd name="T11" fmla="*/ 0 h 142"/>
                <a:gd name="T12" fmla="*/ 25 w 109"/>
                <a:gd name="T13" fmla="*/ 0 h 142"/>
                <a:gd name="T14" fmla="*/ 82 w 109"/>
                <a:gd name="T15" fmla="*/ 87 h 142"/>
                <a:gd name="T16" fmla="*/ 82 w 109"/>
                <a:gd name="T17" fmla="*/ 0 h 142"/>
                <a:gd name="T18" fmla="*/ 109 w 109"/>
                <a:gd name="T19" fmla="*/ 0 h 142"/>
                <a:gd name="T20" fmla="*/ 109 w 109"/>
                <a:gd name="T21" fmla="*/ 142 h 142"/>
                <a:gd name="T22" fmla="*/ 85 w 109"/>
                <a:gd name="T23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142">
                  <a:moveTo>
                    <a:pt x="85" y="142"/>
                  </a:moveTo>
                  <a:lnTo>
                    <a:pt x="85" y="142"/>
                  </a:lnTo>
                  <a:lnTo>
                    <a:pt x="28" y="55"/>
                  </a:lnTo>
                  <a:lnTo>
                    <a:pt x="28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25" y="0"/>
                  </a:lnTo>
                  <a:lnTo>
                    <a:pt x="82" y="87"/>
                  </a:lnTo>
                  <a:lnTo>
                    <a:pt x="82" y="0"/>
                  </a:lnTo>
                  <a:lnTo>
                    <a:pt x="109" y="0"/>
                  </a:lnTo>
                  <a:lnTo>
                    <a:pt x="109" y="142"/>
                  </a:lnTo>
                  <a:lnTo>
                    <a:pt x="85" y="1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2" name="Freeform 15"/>
            <p:cNvSpPr>
              <a:spLocks/>
            </p:cNvSpPr>
            <p:nvPr/>
          </p:nvSpPr>
          <p:spPr bwMode="auto">
            <a:xfrm>
              <a:off x="1195388" y="-819151"/>
              <a:ext cx="92075" cy="128588"/>
            </a:xfrm>
            <a:custGeom>
              <a:avLst/>
              <a:gdLst>
                <a:gd name="T0" fmla="*/ 65 w 102"/>
                <a:gd name="T1" fmla="*/ 25 h 142"/>
                <a:gd name="T2" fmla="*/ 65 w 102"/>
                <a:gd name="T3" fmla="*/ 25 h 142"/>
                <a:gd name="T4" fmla="*/ 65 w 102"/>
                <a:gd name="T5" fmla="*/ 142 h 142"/>
                <a:gd name="T6" fmla="*/ 37 w 102"/>
                <a:gd name="T7" fmla="*/ 142 h 142"/>
                <a:gd name="T8" fmla="*/ 37 w 102"/>
                <a:gd name="T9" fmla="*/ 25 h 142"/>
                <a:gd name="T10" fmla="*/ 0 w 102"/>
                <a:gd name="T11" fmla="*/ 25 h 142"/>
                <a:gd name="T12" fmla="*/ 0 w 102"/>
                <a:gd name="T13" fmla="*/ 0 h 142"/>
                <a:gd name="T14" fmla="*/ 102 w 102"/>
                <a:gd name="T15" fmla="*/ 0 h 142"/>
                <a:gd name="T16" fmla="*/ 102 w 102"/>
                <a:gd name="T17" fmla="*/ 25 h 142"/>
                <a:gd name="T18" fmla="*/ 65 w 102"/>
                <a:gd name="T19" fmla="*/ 2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42">
                  <a:moveTo>
                    <a:pt x="65" y="25"/>
                  </a:moveTo>
                  <a:lnTo>
                    <a:pt x="65" y="25"/>
                  </a:lnTo>
                  <a:lnTo>
                    <a:pt x="65" y="142"/>
                  </a:lnTo>
                  <a:lnTo>
                    <a:pt x="37" y="142"/>
                  </a:lnTo>
                  <a:lnTo>
                    <a:pt x="37" y="25"/>
                  </a:lnTo>
                  <a:lnTo>
                    <a:pt x="0" y="25"/>
                  </a:lnTo>
                  <a:lnTo>
                    <a:pt x="0" y="0"/>
                  </a:lnTo>
                  <a:lnTo>
                    <a:pt x="102" y="0"/>
                  </a:lnTo>
                  <a:lnTo>
                    <a:pt x="102" y="25"/>
                  </a:lnTo>
                  <a:lnTo>
                    <a:pt x="65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Bill &amp; Melinda Gates Foundation      |</a:t>
            </a:r>
            <a:endParaRPr kumimoji="0" lang="en-US" sz="600" b="0" i="0" u="none" strike="noStrike" kern="1200" cap="none" spc="2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F7C509-FEEF-45D3-B896-7C07814C0C13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>
                <a:solidFill>
                  <a:srgbClr val="C00000"/>
                </a:solidFill>
              </a:rPr>
              <a:t>Debate on sewerage and non-sewerage still on- going</a:t>
            </a:r>
          </a:p>
        </p:txBody>
      </p:sp>
      <p:sp>
        <p:nvSpPr>
          <p:cNvPr id="147" name="Rectangle 146"/>
          <p:cNvSpPr/>
          <p:nvPr/>
        </p:nvSpPr>
        <p:spPr>
          <a:xfrm>
            <a:off x="7424878" y="1464751"/>
            <a:ext cx="1280160" cy="29260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49" name="Reuse/Disposal"/>
          <p:cNvGrpSpPr/>
          <p:nvPr/>
        </p:nvGrpSpPr>
        <p:grpSpPr>
          <a:xfrm>
            <a:off x="7479799" y="1628013"/>
            <a:ext cx="1170319" cy="125437"/>
            <a:chOff x="7800975" y="-508001"/>
            <a:chExt cx="1436688" cy="153988"/>
          </a:xfrm>
          <a:solidFill>
            <a:schemeClr val="accent3">
              <a:lumMod val="75000"/>
            </a:schemeClr>
          </a:solidFill>
        </p:grpSpPr>
        <p:sp>
          <p:nvSpPr>
            <p:cNvPr id="198" name="Freeform 42"/>
            <p:cNvSpPr>
              <a:spLocks noEditPoints="1"/>
            </p:cNvSpPr>
            <p:nvPr/>
          </p:nvSpPr>
          <p:spPr bwMode="auto">
            <a:xfrm>
              <a:off x="7800975" y="-495301"/>
              <a:ext cx="95250" cy="128588"/>
            </a:xfrm>
            <a:custGeom>
              <a:avLst/>
              <a:gdLst>
                <a:gd name="T0" fmla="*/ 76 w 108"/>
                <a:gd name="T1" fmla="*/ 143 h 143"/>
                <a:gd name="T2" fmla="*/ 76 w 108"/>
                <a:gd name="T3" fmla="*/ 143 h 143"/>
                <a:gd name="T4" fmla="*/ 48 w 108"/>
                <a:gd name="T5" fmla="*/ 86 h 143"/>
                <a:gd name="T6" fmla="*/ 28 w 108"/>
                <a:gd name="T7" fmla="*/ 86 h 143"/>
                <a:gd name="T8" fmla="*/ 28 w 108"/>
                <a:gd name="T9" fmla="*/ 143 h 143"/>
                <a:gd name="T10" fmla="*/ 0 w 108"/>
                <a:gd name="T11" fmla="*/ 143 h 143"/>
                <a:gd name="T12" fmla="*/ 0 w 108"/>
                <a:gd name="T13" fmla="*/ 0 h 143"/>
                <a:gd name="T14" fmla="*/ 56 w 108"/>
                <a:gd name="T15" fmla="*/ 0 h 143"/>
                <a:gd name="T16" fmla="*/ 102 w 108"/>
                <a:gd name="T17" fmla="*/ 44 h 143"/>
                <a:gd name="T18" fmla="*/ 76 w 108"/>
                <a:gd name="T19" fmla="*/ 81 h 143"/>
                <a:gd name="T20" fmla="*/ 108 w 108"/>
                <a:gd name="T21" fmla="*/ 143 h 143"/>
                <a:gd name="T22" fmla="*/ 76 w 108"/>
                <a:gd name="T23" fmla="*/ 143 h 143"/>
                <a:gd name="T24" fmla="*/ 54 w 108"/>
                <a:gd name="T25" fmla="*/ 25 h 143"/>
                <a:gd name="T26" fmla="*/ 54 w 108"/>
                <a:gd name="T27" fmla="*/ 25 h 143"/>
                <a:gd name="T28" fmla="*/ 28 w 108"/>
                <a:gd name="T29" fmla="*/ 25 h 143"/>
                <a:gd name="T30" fmla="*/ 28 w 108"/>
                <a:gd name="T31" fmla="*/ 63 h 143"/>
                <a:gd name="T32" fmla="*/ 54 w 108"/>
                <a:gd name="T33" fmla="*/ 63 h 143"/>
                <a:gd name="T34" fmla="*/ 74 w 108"/>
                <a:gd name="T35" fmla="*/ 44 h 143"/>
                <a:gd name="T36" fmla="*/ 54 w 108"/>
                <a:gd name="T37" fmla="*/ 2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8" h="143">
                  <a:moveTo>
                    <a:pt x="76" y="143"/>
                  </a:moveTo>
                  <a:lnTo>
                    <a:pt x="76" y="143"/>
                  </a:lnTo>
                  <a:lnTo>
                    <a:pt x="48" y="86"/>
                  </a:lnTo>
                  <a:lnTo>
                    <a:pt x="28" y="86"/>
                  </a:lnTo>
                  <a:lnTo>
                    <a:pt x="28" y="143"/>
                  </a:lnTo>
                  <a:lnTo>
                    <a:pt x="0" y="143"/>
                  </a:lnTo>
                  <a:lnTo>
                    <a:pt x="0" y="0"/>
                  </a:lnTo>
                  <a:lnTo>
                    <a:pt x="56" y="0"/>
                  </a:lnTo>
                  <a:cubicBezTo>
                    <a:pt x="85" y="0"/>
                    <a:pt x="102" y="20"/>
                    <a:pt x="102" y="44"/>
                  </a:cubicBezTo>
                  <a:cubicBezTo>
                    <a:pt x="102" y="64"/>
                    <a:pt x="90" y="76"/>
                    <a:pt x="76" y="81"/>
                  </a:cubicBezTo>
                  <a:lnTo>
                    <a:pt x="108" y="143"/>
                  </a:lnTo>
                  <a:lnTo>
                    <a:pt x="76" y="143"/>
                  </a:lnTo>
                  <a:close/>
                  <a:moveTo>
                    <a:pt x="54" y="25"/>
                  </a:moveTo>
                  <a:lnTo>
                    <a:pt x="54" y="25"/>
                  </a:lnTo>
                  <a:lnTo>
                    <a:pt x="28" y="25"/>
                  </a:lnTo>
                  <a:lnTo>
                    <a:pt x="28" y="63"/>
                  </a:lnTo>
                  <a:lnTo>
                    <a:pt x="54" y="63"/>
                  </a:lnTo>
                  <a:cubicBezTo>
                    <a:pt x="66" y="63"/>
                    <a:pt x="74" y="55"/>
                    <a:pt x="74" y="44"/>
                  </a:cubicBezTo>
                  <a:cubicBezTo>
                    <a:pt x="74" y="33"/>
                    <a:pt x="66" y="25"/>
                    <a:pt x="54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9" name="Freeform 43"/>
            <p:cNvSpPr>
              <a:spLocks/>
            </p:cNvSpPr>
            <p:nvPr/>
          </p:nvSpPr>
          <p:spPr bwMode="auto">
            <a:xfrm>
              <a:off x="7916863" y="-495301"/>
              <a:ext cx="84138" cy="128588"/>
            </a:xfrm>
            <a:custGeom>
              <a:avLst/>
              <a:gdLst>
                <a:gd name="T0" fmla="*/ 0 w 94"/>
                <a:gd name="T1" fmla="*/ 143 h 143"/>
                <a:gd name="T2" fmla="*/ 0 w 94"/>
                <a:gd name="T3" fmla="*/ 143 h 143"/>
                <a:gd name="T4" fmla="*/ 0 w 94"/>
                <a:gd name="T5" fmla="*/ 0 h 143"/>
                <a:gd name="T6" fmla="*/ 94 w 94"/>
                <a:gd name="T7" fmla="*/ 0 h 143"/>
                <a:gd name="T8" fmla="*/ 94 w 94"/>
                <a:gd name="T9" fmla="*/ 25 h 143"/>
                <a:gd name="T10" fmla="*/ 28 w 94"/>
                <a:gd name="T11" fmla="*/ 25 h 143"/>
                <a:gd name="T12" fmla="*/ 28 w 94"/>
                <a:gd name="T13" fmla="*/ 59 h 143"/>
                <a:gd name="T14" fmla="*/ 84 w 94"/>
                <a:gd name="T15" fmla="*/ 59 h 143"/>
                <a:gd name="T16" fmla="*/ 84 w 94"/>
                <a:gd name="T17" fmla="*/ 83 h 143"/>
                <a:gd name="T18" fmla="*/ 28 w 94"/>
                <a:gd name="T19" fmla="*/ 83 h 143"/>
                <a:gd name="T20" fmla="*/ 28 w 94"/>
                <a:gd name="T21" fmla="*/ 118 h 143"/>
                <a:gd name="T22" fmla="*/ 94 w 94"/>
                <a:gd name="T23" fmla="*/ 118 h 143"/>
                <a:gd name="T24" fmla="*/ 94 w 94"/>
                <a:gd name="T25" fmla="*/ 143 h 143"/>
                <a:gd name="T26" fmla="*/ 0 w 94"/>
                <a:gd name="T27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4" h="143">
                  <a:moveTo>
                    <a:pt x="0" y="143"/>
                  </a:moveTo>
                  <a:lnTo>
                    <a:pt x="0" y="14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25"/>
                  </a:lnTo>
                  <a:lnTo>
                    <a:pt x="28" y="25"/>
                  </a:lnTo>
                  <a:lnTo>
                    <a:pt x="28" y="59"/>
                  </a:lnTo>
                  <a:lnTo>
                    <a:pt x="84" y="59"/>
                  </a:lnTo>
                  <a:lnTo>
                    <a:pt x="84" y="83"/>
                  </a:lnTo>
                  <a:lnTo>
                    <a:pt x="28" y="83"/>
                  </a:lnTo>
                  <a:lnTo>
                    <a:pt x="28" y="118"/>
                  </a:lnTo>
                  <a:lnTo>
                    <a:pt x="94" y="118"/>
                  </a:lnTo>
                  <a:lnTo>
                    <a:pt x="94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0" name="Freeform 44"/>
            <p:cNvSpPr>
              <a:spLocks/>
            </p:cNvSpPr>
            <p:nvPr/>
          </p:nvSpPr>
          <p:spPr bwMode="auto">
            <a:xfrm>
              <a:off x="8021638" y="-495301"/>
              <a:ext cx="93663" cy="128588"/>
            </a:xfrm>
            <a:custGeom>
              <a:avLst/>
              <a:gdLst>
                <a:gd name="T0" fmla="*/ 53 w 105"/>
                <a:gd name="T1" fmla="*/ 144 h 144"/>
                <a:gd name="T2" fmla="*/ 53 w 105"/>
                <a:gd name="T3" fmla="*/ 144 h 144"/>
                <a:gd name="T4" fmla="*/ 0 w 105"/>
                <a:gd name="T5" fmla="*/ 94 h 144"/>
                <a:gd name="T6" fmla="*/ 0 w 105"/>
                <a:gd name="T7" fmla="*/ 0 h 144"/>
                <a:gd name="T8" fmla="*/ 28 w 105"/>
                <a:gd name="T9" fmla="*/ 0 h 144"/>
                <a:gd name="T10" fmla="*/ 28 w 105"/>
                <a:gd name="T11" fmla="*/ 93 h 144"/>
                <a:gd name="T12" fmla="*/ 53 w 105"/>
                <a:gd name="T13" fmla="*/ 119 h 144"/>
                <a:gd name="T14" fmla="*/ 77 w 105"/>
                <a:gd name="T15" fmla="*/ 93 h 144"/>
                <a:gd name="T16" fmla="*/ 77 w 105"/>
                <a:gd name="T17" fmla="*/ 0 h 144"/>
                <a:gd name="T18" fmla="*/ 105 w 105"/>
                <a:gd name="T19" fmla="*/ 0 h 144"/>
                <a:gd name="T20" fmla="*/ 105 w 105"/>
                <a:gd name="T21" fmla="*/ 94 h 144"/>
                <a:gd name="T22" fmla="*/ 53 w 105"/>
                <a:gd name="T2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5" h="144">
                  <a:moveTo>
                    <a:pt x="53" y="144"/>
                  </a:moveTo>
                  <a:lnTo>
                    <a:pt x="53" y="144"/>
                  </a:lnTo>
                  <a:cubicBezTo>
                    <a:pt x="23" y="144"/>
                    <a:pt x="0" y="124"/>
                    <a:pt x="0" y="94"/>
                  </a:cubicBezTo>
                  <a:lnTo>
                    <a:pt x="0" y="0"/>
                  </a:lnTo>
                  <a:lnTo>
                    <a:pt x="28" y="0"/>
                  </a:lnTo>
                  <a:lnTo>
                    <a:pt x="28" y="93"/>
                  </a:lnTo>
                  <a:cubicBezTo>
                    <a:pt x="28" y="109"/>
                    <a:pt x="38" y="119"/>
                    <a:pt x="53" y="119"/>
                  </a:cubicBezTo>
                  <a:cubicBezTo>
                    <a:pt x="68" y="119"/>
                    <a:pt x="77" y="109"/>
                    <a:pt x="77" y="93"/>
                  </a:cubicBezTo>
                  <a:lnTo>
                    <a:pt x="77" y="0"/>
                  </a:lnTo>
                  <a:lnTo>
                    <a:pt x="105" y="0"/>
                  </a:lnTo>
                  <a:lnTo>
                    <a:pt x="105" y="94"/>
                  </a:lnTo>
                  <a:cubicBezTo>
                    <a:pt x="105" y="124"/>
                    <a:pt x="82" y="144"/>
                    <a:pt x="53" y="1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1" name="Freeform 45"/>
            <p:cNvSpPr>
              <a:spLocks/>
            </p:cNvSpPr>
            <p:nvPr/>
          </p:nvSpPr>
          <p:spPr bwMode="auto">
            <a:xfrm>
              <a:off x="8131175" y="-496888"/>
              <a:ext cx="92075" cy="130175"/>
            </a:xfrm>
            <a:custGeom>
              <a:avLst/>
              <a:gdLst>
                <a:gd name="T0" fmla="*/ 52 w 104"/>
                <a:gd name="T1" fmla="*/ 145 h 145"/>
                <a:gd name="T2" fmla="*/ 52 w 104"/>
                <a:gd name="T3" fmla="*/ 145 h 145"/>
                <a:gd name="T4" fmla="*/ 0 w 104"/>
                <a:gd name="T5" fmla="*/ 126 h 145"/>
                <a:gd name="T6" fmla="*/ 18 w 104"/>
                <a:gd name="T7" fmla="*/ 108 h 145"/>
                <a:gd name="T8" fmla="*/ 52 w 104"/>
                <a:gd name="T9" fmla="*/ 120 h 145"/>
                <a:gd name="T10" fmla="*/ 77 w 104"/>
                <a:gd name="T11" fmla="*/ 102 h 145"/>
                <a:gd name="T12" fmla="*/ 73 w 104"/>
                <a:gd name="T13" fmla="*/ 90 h 145"/>
                <a:gd name="T14" fmla="*/ 60 w 104"/>
                <a:gd name="T15" fmla="*/ 85 h 145"/>
                <a:gd name="T16" fmla="*/ 43 w 104"/>
                <a:gd name="T17" fmla="*/ 83 h 145"/>
                <a:gd name="T18" fmla="*/ 15 w 104"/>
                <a:gd name="T19" fmla="*/ 71 h 145"/>
                <a:gd name="T20" fmla="*/ 5 w 104"/>
                <a:gd name="T21" fmla="*/ 43 h 145"/>
                <a:gd name="T22" fmla="*/ 55 w 104"/>
                <a:gd name="T23" fmla="*/ 0 h 145"/>
                <a:gd name="T24" fmla="*/ 101 w 104"/>
                <a:gd name="T25" fmla="*/ 17 h 145"/>
                <a:gd name="T26" fmla="*/ 83 w 104"/>
                <a:gd name="T27" fmla="*/ 34 h 145"/>
                <a:gd name="T28" fmla="*/ 54 w 104"/>
                <a:gd name="T29" fmla="*/ 24 h 145"/>
                <a:gd name="T30" fmla="*/ 32 w 104"/>
                <a:gd name="T31" fmla="*/ 42 h 145"/>
                <a:gd name="T32" fmla="*/ 36 w 104"/>
                <a:gd name="T33" fmla="*/ 52 h 145"/>
                <a:gd name="T34" fmla="*/ 49 w 104"/>
                <a:gd name="T35" fmla="*/ 58 h 145"/>
                <a:gd name="T36" fmla="*/ 66 w 104"/>
                <a:gd name="T37" fmla="*/ 60 h 145"/>
                <a:gd name="T38" fmla="*/ 93 w 104"/>
                <a:gd name="T39" fmla="*/ 71 h 145"/>
                <a:gd name="T40" fmla="*/ 104 w 104"/>
                <a:gd name="T41" fmla="*/ 102 h 145"/>
                <a:gd name="T42" fmla="*/ 52 w 104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4" h="145">
                  <a:moveTo>
                    <a:pt x="52" y="145"/>
                  </a:moveTo>
                  <a:lnTo>
                    <a:pt x="52" y="145"/>
                  </a:lnTo>
                  <a:cubicBezTo>
                    <a:pt x="30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39" y="120"/>
                    <a:pt x="52" y="120"/>
                  </a:cubicBezTo>
                  <a:cubicBezTo>
                    <a:pt x="68" y="120"/>
                    <a:pt x="77" y="114"/>
                    <a:pt x="77" y="102"/>
                  </a:cubicBezTo>
                  <a:cubicBezTo>
                    <a:pt x="77" y="97"/>
                    <a:pt x="76" y="93"/>
                    <a:pt x="73" y="90"/>
                  </a:cubicBezTo>
                  <a:cubicBezTo>
                    <a:pt x="70" y="88"/>
                    <a:pt x="67" y="86"/>
                    <a:pt x="60" y="85"/>
                  </a:cubicBezTo>
                  <a:lnTo>
                    <a:pt x="43" y="83"/>
                  </a:lnTo>
                  <a:cubicBezTo>
                    <a:pt x="31" y="81"/>
                    <a:pt x="22" y="77"/>
                    <a:pt x="15" y="71"/>
                  </a:cubicBezTo>
                  <a:cubicBezTo>
                    <a:pt x="9" y="65"/>
                    <a:pt x="5" y="55"/>
                    <a:pt x="5" y="43"/>
                  </a:cubicBezTo>
                  <a:cubicBezTo>
                    <a:pt x="5" y="18"/>
                    <a:pt x="24" y="0"/>
                    <a:pt x="55" y="0"/>
                  </a:cubicBezTo>
                  <a:cubicBezTo>
                    <a:pt x="74" y="0"/>
                    <a:pt x="89" y="5"/>
                    <a:pt x="101" y="17"/>
                  </a:cubicBezTo>
                  <a:lnTo>
                    <a:pt x="83" y="34"/>
                  </a:lnTo>
                  <a:cubicBezTo>
                    <a:pt x="74" y="26"/>
                    <a:pt x="63" y="24"/>
                    <a:pt x="54" y="24"/>
                  </a:cubicBezTo>
                  <a:cubicBezTo>
                    <a:pt x="39" y="24"/>
                    <a:pt x="32" y="32"/>
                    <a:pt x="32" y="42"/>
                  </a:cubicBezTo>
                  <a:cubicBezTo>
                    <a:pt x="32" y="46"/>
                    <a:pt x="33" y="50"/>
                    <a:pt x="36" y="52"/>
                  </a:cubicBezTo>
                  <a:cubicBezTo>
                    <a:pt x="39" y="55"/>
                    <a:pt x="44" y="57"/>
                    <a:pt x="49" y="58"/>
                  </a:cubicBezTo>
                  <a:lnTo>
                    <a:pt x="66" y="60"/>
                  </a:lnTo>
                  <a:cubicBezTo>
                    <a:pt x="79" y="62"/>
                    <a:pt x="87" y="66"/>
                    <a:pt x="93" y="71"/>
                  </a:cubicBezTo>
                  <a:cubicBezTo>
                    <a:pt x="101" y="79"/>
                    <a:pt x="104" y="89"/>
                    <a:pt x="104" y="102"/>
                  </a:cubicBezTo>
                  <a:cubicBezTo>
                    <a:pt x="104" y="129"/>
                    <a:pt x="81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2" name="Freeform 46"/>
            <p:cNvSpPr>
              <a:spLocks/>
            </p:cNvSpPr>
            <p:nvPr/>
          </p:nvSpPr>
          <p:spPr bwMode="auto">
            <a:xfrm>
              <a:off x="8245475" y="-495301"/>
              <a:ext cx="84138" cy="128588"/>
            </a:xfrm>
            <a:custGeom>
              <a:avLst/>
              <a:gdLst>
                <a:gd name="T0" fmla="*/ 0 w 93"/>
                <a:gd name="T1" fmla="*/ 143 h 143"/>
                <a:gd name="T2" fmla="*/ 0 w 93"/>
                <a:gd name="T3" fmla="*/ 143 h 143"/>
                <a:gd name="T4" fmla="*/ 0 w 93"/>
                <a:gd name="T5" fmla="*/ 0 h 143"/>
                <a:gd name="T6" fmla="*/ 93 w 93"/>
                <a:gd name="T7" fmla="*/ 0 h 143"/>
                <a:gd name="T8" fmla="*/ 93 w 93"/>
                <a:gd name="T9" fmla="*/ 25 h 143"/>
                <a:gd name="T10" fmla="*/ 27 w 93"/>
                <a:gd name="T11" fmla="*/ 25 h 143"/>
                <a:gd name="T12" fmla="*/ 27 w 93"/>
                <a:gd name="T13" fmla="*/ 59 h 143"/>
                <a:gd name="T14" fmla="*/ 84 w 93"/>
                <a:gd name="T15" fmla="*/ 59 h 143"/>
                <a:gd name="T16" fmla="*/ 84 w 93"/>
                <a:gd name="T17" fmla="*/ 83 h 143"/>
                <a:gd name="T18" fmla="*/ 27 w 93"/>
                <a:gd name="T19" fmla="*/ 83 h 143"/>
                <a:gd name="T20" fmla="*/ 27 w 93"/>
                <a:gd name="T21" fmla="*/ 118 h 143"/>
                <a:gd name="T22" fmla="*/ 93 w 93"/>
                <a:gd name="T23" fmla="*/ 118 h 143"/>
                <a:gd name="T24" fmla="*/ 93 w 93"/>
                <a:gd name="T25" fmla="*/ 143 h 143"/>
                <a:gd name="T26" fmla="*/ 0 w 93"/>
                <a:gd name="T27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3" h="143">
                  <a:moveTo>
                    <a:pt x="0" y="143"/>
                  </a:moveTo>
                  <a:lnTo>
                    <a:pt x="0" y="143"/>
                  </a:lnTo>
                  <a:lnTo>
                    <a:pt x="0" y="0"/>
                  </a:lnTo>
                  <a:lnTo>
                    <a:pt x="93" y="0"/>
                  </a:lnTo>
                  <a:lnTo>
                    <a:pt x="93" y="25"/>
                  </a:lnTo>
                  <a:lnTo>
                    <a:pt x="27" y="25"/>
                  </a:lnTo>
                  <a:lnTo>
                    <a:pt x="27" y="59"/>
                  </a:lnTo>
                  <a:lnTo>
                    <a:pt x="84" y="59"/>
                  </a:lnTo>
                  <a:lnTo>
                    <a:pt x="84" y="83"/>
                  </a:lnTo>
                  <a:lnTo>
                    <a:pt x="27" y="83"/>
                  </a:lnTo>
                  <a:lnTo>
                    <a:pt x="27" y="118"/>
                  </a:lnTo>
                  <a:lnTo>
                    <a:pt x="93" y="118"/>
                  </a:lnTo>
                  <a:lnTo>
                    <a:pt x="93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3" name="Freeform 47"/>
            <p:cNvSpPr>
              <a:spLocks/>
            </p:cNvSpPr>
            <p:nvPr/>
          </p:nvSpPr>
          <p:spPr bwMode="auto">
            <a:xfrm>
              <a:off x="8342313" y="-508001"/>
              <a:ext cx="71438" cy="153988"/>
            </a:xfrm>
            <a:custGeom>
              <a:avLst/>
              <a:gdLst>
                <a:gd name="T0" fmla="*/ 57 w 81"/>
                <a:gd name="T1" fmla="*/ 0 h 172"/>
                <a:gd name="T2" fmla="*/ 57 w 81"/>
                <a:gd name="T3" fmla="*/ 0 h 172"/>
                <a:gd name="T4" fmla="*/ 0 w 81"/>
                <a:gd name="T5" fmla="*/ 172 h 172"/>
                <a:gd name="T6" fmla="*/ 24 w 81"/>
                <a:gd name="T7" fmla="*/ 172 h 172"/>
                <a:gd name="T8" fmla="*/ 81 w 81"/>
                <a:gd name="T9" fmla="*/ 0 h 172"/>
                <a:gd name="T10" fmla="*/ 57 w 81"/>
                <a:gd name="T11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172">
                  <a:moveTo>
                    <a:pt x="57" y="0"/>
                  </a:moveTo>
                  <a:lnTo>
                    <a:pt x="57" y="0"/>
                  </a:lnTo>
                  <a:lnTo>
                    <a:pt x="0" y="172"/>
                  </a:lnTo>
                  <a:lnTo>
                    <a:pt x="24" y="172"/>
                  </a:lnTo>
                  <a:lnTo>
                    <a:pt x="81" y="0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4" name="Freeform 48"/>
            <p:cNvSpPr>
              <a:spLocks noEditPoints="1"/>
            </p:cNvSpPr>
            <p:nvPr/>
          </p:nvSpPr>
          <p:spPr bwMode="auto">
            <a:xfrm>
              <a:off x="8429625" y="-495301"/>
              <a:ext cx="93663" cy="128588"/>
            </a:xfrm>
            <a:custGeom>
              <a:avLst/>
              <a:gdLst>
                <a:gd name="T0" fmla="*/ 89 w 105"/>
                <a:gd name="T1" fmla="*/ 129 h 143"/>
                <a:gd name="T2" fmla="*/ 89 w 105"/>
                <a:gd name="T3" fmla="*/ 129 h 143"/>
                <a:gd name="T4" fmla="*/ 51 w 105"/>
                <a:gd name="T5" fmla="*/ 143 h 143"/>
                <a:gd name="T6" fmla="*/ 0 w 105"/>
                <a:gd name="T7" fmla="*/ 143 h 143"/>
                <a:gd name="T8" fmla="*/ 0 w 105"/>
                <a:gd name="T9" fmla="*/ 0 h 143"/>
                <a:gd name="T10" fmla="*/ 51 w 105"/>
                <a:gd name="T11" fmla="*/ 0 h 143"/>
                <a:gd name="T12" fmla="*/ 89 w 105"/>
                <a:gd name="T13" fmla="*/ 14 h 143"/>
                <a:gd name="T14" fmla="*/ 103 w 105"/>
                <a:gd name="T15" fmla="*/ 71 h 143"/>
                <a:gd name="T16" fmla="*/ 89 w 105"/>
                <a:gd name="T17" fmla="*/ 129 h 143"/>
                <a:gd name="T18" fmla="*/ 69 w 105"/>
                <a:gd name="T19" fmla="*/ 34 h 143"/>
                <a:gd name="T20" fmla="*/ 69 w 105"/>
                <a:gd name="T21" fmla="*/ 34 h 143"/>
                <a:gd name="T22" fmla="*/ 48 w 105"/>
                <a:gd name="T23" fmla="*/ 25 h 143"/>
                <a:gd name="T24" fmla="*/ 27 w 105"/>
                <a:gd name="T25" fmla="*/ 25 h 143"/>
                <a:gd name="T26" fmla="*/ 27 w 105"/>
                <a:gd name="T27" fmla="*/ 118 h 143"/>
                <a:gd name="T28" fmla="*/ 48 w 105"/>
                <a:gd name="T29" fmla="*/ 118 h 143"/>
                <a:gd name="T30" fmla="*/ 69 w 105"/>
                <a:gd name="T31" fmla="*/ 109 h 143"/>
                <a:gd name="T32" fmla="*/ 75 w 105"/>
                <a:gd name="T33" fmla="*/ 71 h 143"/>
                <a:gd name="T34" fmla="*/ 69 w 105"/>
                <a:gd name="T35" fmla="*/ 3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" h="143">
                  <a:moveTo>
                    <a:pt x="89" y="129"/>
                  </a:moveTo>
                  <a:lnTo>
                    <a:pt x="89" y="129"/>
                  </a:lnTo>
                  <a:cubicBezTo>
                    <a:pt x="79" y="138"/>
                    <a:pt x="66" y="143"/>
                    <a:pt x="51" y="143"/>
                  </a:cubicBezTo>
                  <a:lnTo>
                    <a:pt x="0" y="143"/>
                  </a:lnTo>
                  <a:lnTo>
                    <a:pt x="0" y="0"/>
                  </a:lnTo>
                  <a:lnTo>
                    <a:pt x="51" y="0"/>
                  </a:lnTo>
                  <a:cubicBezTo>
                    <a:pt x="66" y="0"/>
                    <a:pt x="79" y="5"/>
                    <a:pt x="89" y="14"/>
                  </a:cubicBezTo>
                  <a:cubicBezTo>
                    <a:pt x="105" y="30"/>
                    <a:pt x="103" y="50"/>
                    <a:pt x="103" y="71"/>
                  </a:cubicBezTo>
                  <a:cubicBezTo>
                    <a:pt x="103" y="92"/>
                    <a:pt x="105" y="113"/>
                    <a:pt x="89" y="129"/>
                  </a:cubicBezTo>
                  <a:close/>
                  <a:moveTo>
                    <a:pt x="69" y="34"/>
                  </a:moveTo>
                  <a:lnTo>
                    <a:pt x="69" y="34"/>
                  </a:lnTo>
                  <a:cubicBezTo>
                    <a:pt x="64" y="28"/>
                    <a:pt x="58" y="25"/>
                    <a:pt x="48" y="25"/>
                  </a:cubicBezTo>
                  <a:lnTo>
                    <a:pt x="27" y="25"/>
                  </a:lnTo>
                  <a:lnTo>
                    <a:pt x="27" y="118"/>
                  </a:lnTo>
                  <a:lnTo>
                    <a:pt x="48" y="118"/>
                  </a:lnTo>
                  <a:cubicBezTo>
                    <a:pt x="58" y="118"/>
                    <a:pt x="64" y="115"/>
                    <a:pt x="69" y="109"/>
                  </a:cubicBezTo>
                  <a:cubicBezTo>
                    <a:pt x="74" y="103"/>
                    <a:pt x="75" y="93"/>
                    <a:pt x="75" y="71"/>
                  </a:cubicBezTo>
                  <a:cubicBezTo>
                    <a:pt x="75" y="49"/>
                    <a:pt x="74" y="40"/>
                    <a:pt x="69" y="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5" name="Freeform 49"/>
            <p:cNvSpPr>
              <a:spLocks/>
            </p:cNvSpPr>
            <p:nvPr/>
          </p:nvSpPr>
          <p:spPr bwMode="auto">
            <a:xfrm>
              <a:off x="8545513" y="-495301"/>
              <a:ext cx="25400" cy="128588"/>
            </a:xfrm>
            <a:custGeom>
              <a:avLst/>
              <a:gdLst>
                <a:gd name="T0" fmla="*/ 0 w 27"/>
                <a:gd name="T1" fmla="*/ 0 h 143"/>
                <a:gd name="T2" fmla="*/ 0 w 27"/>
                <a:gd name="T3" fmla="*/ 0 h 143"/>
                <a:gd name="T4" fmla="*/ 27 w 27"/>
                <a:gd name="T5" fmla="*/ 0 h 143"/>
                <a:gd name="T6" fmla="*/ 27 w 27"/>
                <a:gd name="T7" fmla="*/ 143 h 143"/>
                <a:gd name="T8" fmla="*/ 0 w 27"/>
                <a:gd name="T9" fmla="*/ 143 h 143"/>
                <a:gd name="T10" fmla="*/ 0 w 27"/>
                <a:gd name="T11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143">
                  <a:moveTo>
                    <a:pt x="0" y="0"/>
                  </a:moveTo>
                  <a:lnTo>
                    <a:pt x="0" y="0"/>
                  </a:lnTo>
                  <a:lnTo>
                    <a:pt x="27" y="0"/>
                  </a:lnTo>
                  <a:lnTo>
                    <a:pt x="27" y="143"/>
                  </a:lnTo>
                  <a:lnTo>
                    <a:pt x="0" y="14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6" name="Freeform 50"/>
            <p:cNvSpPr>
              <a:spLocks/>
            </p:cNvSpPr>
            <p:nvPr/>
          </p:nvSpPr>
          <p:spPr bwMode="auto">
            <a:xfrm>
              <a:off x="8589963" y="-496888"/>
              <a:ext cx="92075" cy="130175"/>
            </a:xfrm>
            <a:custGeom>
              <a:avLst/>
              <a:gdLst>
                <a:gd name="T0" fmla="*/ 52 w 104"/>
                <a:gd name="T1" fmla="*/ 145 h 145"/>
                <a:gd name="T2" fmla="*/ 52 w 104"/>
                <a:gd name="T3" fmla="*/ 145 h 145"/>
                <a:gd name="T4" fmla="*/ 0 w 104"/>
                <a:gd name="T5" fmla="*/ 126 h 145"/>
                <a:gd name="T6" fmla="*/ 18 w 104"/>
                <a:gd name="T7" fmla="*/ 108 h 145"/>
                <a:gd name="T8" fmla="*/ 52 w 104"/>
                <a:gd name="T9" fmla="*/ 120 h 145"/>
                <a:gd name="T10" fmla="*/ 77 w 104"/>
                <a:gd name="T11" fmla="*/ 102 h 145"/>
                <a:gd name="T12" fmla="*/ 73 w 104"/>
                <a:gd name="T13" fmla="*/ 90 h 145"/>
                <a:gd name="T14" fmla="*/ 60 w 104"/>
                <a:gd name="T15" fmla="*/ 85 h 145"/>
                <a:gd name="T16" fmla="*/ 43 w 104"/>
                <a:gd name="T17" fmla="*/ 83 h 145"/>
                <a:gd name="T18" fmla="*/ 15 w 104"/>
                <a:gd name="T19" fmla="*/ 71 h 145"/>
                <a:gd name="T20" fmla="*/ 5 w 104"/>
                <a:gd name="T21" fmla="*/ 43 h 145"/>
                <a:gd name="T22" fmla="*/ 55 w 104"/>
                <a:gd name="T23" fmla="*/ 0 h 145"/>
                <a:gd name="T24" fmla="*/ 101 w 104"/>
                <a:gd name="T25" fmla="*/ 17 h 145"/>
                <a:gd name="T26" fmla="*/ 83 w 104"/>
                <a:gd name="T27" fmla="*/ 34 h 145"/>
                <a:gd name="T28" fmla="*/ 54 w 104"/>
                <a:gd name="T29" fmla="*/ 24 h 145"/>
                <a:gd name="T30" fmla="*/ 32 w 104"/>
                <a:gd name="T31" fmla="*/ 42 h 145"/>
                <a:gd name="T32" fmla="*/ 36 w 104"/>
                <a:gd name="T33" fmla="*/ 52 h 145"/>
                <a:gd name="T34" fmla="*/ 49 w 104"/>
                <a:gd name="T35" fmla="*/ 58 h 145"/>
                <a:gd name="T36" fmla="*/ 66 w 104"/>
                <a:gd name="T37" fmla="*/ 60 h 145"/>
                <a:gd name="T38" fmla="*/ 93 w 104"/>
                <a:gd name="T39" fmla="*/ 71 h 145"/>
                <a:gd name="T40" fmla="*/ 104 w 104"/>
                <a:gd name="T41" fmla="*/ 102 h 145"/>
                <a:gd name="T42" fmla="*/ 52 w 104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4" h="145">
                  <a:moveTo>
                    <a:pt x="52" y="145"/>
                  </a:moveTo>
                  <a:lnTo>
                    <a:pt x="52" y="145"/>
                  </a:lnTo>
                  <a:cubicBezTo>
                    <a:pt x="30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39" y="120"/>
                    <a:pt x="52" y="120"/>
                  </a:cubicBezTo>
                  <a:cubicBezTo>
                    <a:pt x="68" y="120"/>
                    <a:pt x="77" y="114"/>
                    <a:pt x="77" y="102"/>
                  </a:cubicBezTo>
                  <a:cubicBezTo>
                    <a:pt x="77" y="97"/>
                    <a:pt x="76" y="93"/>
                    <a:pt x="73" y="90"/>
                  </a:cubicBezTo>
                  <a:cubicBezTo>
                    <a:pt x="70" y="88"/>
                    <a:pt x="67" y="86"/>
                    <a:pt x="60" y="85"/>
                  </a:cubicBezTo>
                  <a:lnTo>
                    <a:pt x="43" y="83"/>
                  </a:lnTo>
                  <a:cubicBezTo>
                    <a:pt x="31" y="81"/>
                    <a:pt x="22" y="77"/>
                    <a:pt x="15" y="71"/>
                  </a:cubicBezTo>
                  <a:cubicBezTo>
                    <a:pt x="9" y="65"/>
                    <a:pt x="5" y="55"/>
                    <a:pt x="5" y="43"/>
                  </a:cubicBezTo>
                  <a:cubicBezTo>
                    <a:pt x="5" y="18"/>
                    <a:pt x="24" y="0"/>
                    <a:pt x="55" y="0"/>
                  </a:cubicBezTo>
                  <a:cubicBezTo>
                    <a:pt x="74" y="0"/>
                    <a:pt x="89" y="5"/>
                    <a:pt x="101" y="17"/>
                  </a:cubicBezTo>
                  <a:lnTo>
                    <a:pt x="83" y="34"/>
                  </a:lnTo>
                  <a:cubicBezTo>
                    <a:pt x="74" y="26"/>
                    <a:pt x="63" y="24"/>
                    <a:pt x="54" y="24"/>
                  </a:cubicBezTo>
                  <a:cubicBezTo>
                    <a:pt x="39" y="24"/>
                    <a:pt x="32" y="32"/>
                    <a:pt x="32" y="42"/>
                  </a:cubicBezTo>
                  <a:cubicBezTo>
                    <a:pt x="32" y="46"/>
                    <a:pt x="33" y="50"/>
                    <a:pt x="36" y="52"/>
                  </a:cubicBezTo>
                  <a:cubicBezTo>
                    <a:pt x="39" y="55"/>
                    <a:pt x="44" y="57"/>
                    <a:pt x="49" y="58"/>
                  </a:cubicBezTo>
                  <a:lnTo>
                    <a:pt x="66" y="60"/>
                  </a:lnTo>
                  <a:cubicBezTo>
                    <a:pt x="79" y="62"/>
                    <a:pt x="87" y="66"/>
                    <a:pt x="93" y="71"/>
                  </a:cubicBezTo>
                  <a:cubicBezTo>
                    <a:pt x="101" y="79"/>
                    <a:pt x="104" y="89"/>
                    <a:pt x="104" y="102"/>
                  </a:cubicBezTo>
                  <a:cubicBezTo>
                    <a:pt x="104" y="129"/>
                    <a:pt x="81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7" name="Freeform 51"/>
            <p:cNvSpPr>
              <a:spLocks noEditPoints="1"/>
            </p:cNvSpPr>
            <p:nvPr/>
          </p:nvSpPr>
          <p:spPr bwMode="auto">
            <a:xfrm>
              <a:off x="8704263" y="-495301"/>
              <a:ext cx="92075" cy="128588"/>
            </a:xfrm>
            <a:custGeom>
              <a:avLst/>
              <a:gdLst>
                <a:gd name="T0" fmla="*/ 55 w 102"/>
                <a:gd name="T1" fmla="*/ 89 h 143"/>
                <a:gd name="T2" fmla="*/ 55 w 102"/>
                <a:gd name="T3" fmla="*/ 89 h 143"/>
                <a:gd name="T4" fmla="*/ 27 w 102"/>
                <a:gd name="T5" fmla="*/ 89 h 143"/>
                <a:gd name="T6" fmla="*/ 27 w 102"/>
                <a:gd name="T7" fmla="*/ 143 h 143"/>
                <a:gd name="T8" fmla="*/ 0 w 102"/>
                <a:gd name="T9" fmla="*/ 143 h 143"/>
                <a:gd name="T10" fmla="*/ 0 w 102"/>
                <a:gd name="T11" fmla="*/ 0 h 143"/>
                <a:gd name="T12" fmla="*/ 55 w 102"/>
                <a:gd name="T13" fmla="*/ 0 h 143"/>
                <a:gd name="T14" fmla="*/ 102 w 102"/>
                <a:gd name="T15" fmla="*/ 45 h 143"/>
                <a:gd name="T16" fmla="*/ 55 w 102"/>
                <a:gd name="T17" fmla="*/ 89 h 143"/>
                <a:gd name="T18" fmla="*/ 53 w 102"/>
                <a:gd name="T19" fmla="*/ 25 h 143"/>
                <a:gd name="T20" fmla="*/ 53 w 102"/>
                <a:gd name="T21" fmla="*/ 25 h 143"/>
                <a:gd name="T22" fmla="*/ 27 w 102"/>
                <a:gd name="T23" fmla="*/ 25 h 143"/>
                <a:gd name="T24" fmla="*/ 27 w 102"/>
                <a:gd name="T25" fmla="*/ 64 h 143"/>
                <a:gd name="T26" fmla="*/ 53 w 102"/>
                <a:gd name="T27" fmla="*/ 64 h 143"/>
                <a:gd name="T28" fmla="*/ 74 w 102"/>
                <a:gd name="T29" fmla="*/ 45 h 143"/>
                <a:gd name="T30" fmla="*/ 53 w 102"/>
                <a:gd name="T31" fmla="*/ 2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2" h="143">
                  <a:moveTo>
                    <a:pt x="55" y="89"/>
                  </a:moveTo>
                  <a:lnTo>
                    <a:pt x="55" y="89"/>
                  </a:lnTo>
                  <a:lnTo>
                    <a:pt x="27" y="89"/>
                  </a:lnTo>
                  <a:lnTo>
                    <a:pt x="27" y="143"/>
                  </a:lnTo>
                  <a:lnTo>
                    <a:pt x="0" y="143"/>
                  </a:lnTo>
                  <a:lnTo>
                    <a:pt x="0" y="0"/>
                  </a:lnTo>
                  <a:lnTo>
                    <a:pt x="55" y="0"/>
                  </a:lnTo>
                  <a:cubicBezTo>
                    <a:pt x="84" y="0"/>
                    <a:pt x="102" y="20"/>
                    <a:pt x="102" y="45"/>
                  </a:cubicBezTo>
                  <a:cubicBezTo>
                    <a:pt x="102" y="69"/>
                    <a:pt x="84" y="89"/>
                    <a:pt x="55" y="89"/>
                  </a:cubicBezTo>
                  <a:close/>
                  <a:moveTo>
                    <a:pt x="53" y="25"/>
                  </a:moveTo>
                  <a:lnTo>
                    <a:pt x="53" y="25"/>
                  </a:lnTo>
                  <a:lnTo>
                    <a:pt x="27" y="25"/>
                  </a:lnTo>
                  <a:lnTo>
                    <a:pt x="27" y="64"/>
                  </a:lnTo>
                  <a:lnTo>
                    <a:pt x="53" y="64"/>
                  </a:lnTo>
                  <a:cubicBezTo>
                    <a:pt x="66" y="64"/>
                    <a:pt x="74" y="56"/>
                    <a:pt x="74" y="45"/>
                  </a:cubicBezTo>
                  <a:cubicBezTo>
                    <a:pt x="74" y="33"/>
                    <a:pt x="66" y="25"/>
                    <a:pt x="53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8" name="Freeform 52"/>
            <p:cNvSpPr>
              <a:spLocks noEditPoints="1"/>
            </p:cNvSpPr>
            <p:nvPr/>
          </p:nvSpPr>
          <p:spPr bwMode="auto">
            <a:xfrm>
              <a:off x="8813800" y="-496888"/>
              <a:ext cx="93663" cy="130175"/>
            </a:xfrm>
            <a:custGeom>
              <a:avLst/>
              <a:gdLst>
                <a:gd name="T0" fmla="*/ 91 w 106"/>
                <a:gd name="T1" fmla="*/ 129 h 145"/>
                <a:gd name="T2" fmla="*/ 91 w 106"/>
                <a:gd name="T3" fmla="*/ 129 h 145"/>
                <a:gd name="T4" fmla="*/ 53 w 106"/>
                <a:gd name="T5" fmla="*/ 145 h 145"/>
                <a:gd name="T6" fmla="*/ 14 w 106"/>
                <a:gd name="T7" fmla="*/ 129 h 145"/>
                <a:gd name="T8" fmla="*/ 0 w 106"/>
                <a:gd name="T9" fmla="*/ 72 h 145"/>
                <a:gd name="T10" fmla="*/ 14 w 106"/>
                <a:gd name="T11" fmla="*/ 16 h 145"/>
                <a:gd name="T12" fmla="*/ 53 w 106"/>
                <a:gd name="T13" fmla="*/ 0 h 145"/>
                <a:gd name="T14" fmla="*/ 91 w 106"/>
                <a:gd name="T15" fmla="*/ 16 h 145"/>
                <a:gd name="T16" fmla="*/ 105 w 106"/>
                <a:gd name="T17" fmla="*/ 72 h 145"/>
                <a:gd name="T18" fmla="*/ 91 w 106"/>
                <a:gd name="T19" fmla="*/ 129 h 145"/>
                <a:gd name="T20" fmla="*/ 71 w 106"/>
                <a:gd name="T21" fmla="*/ 32 h 145"/>
                <a:gd name="T22" fmla="*/ 71 w 106"/>
                <a:gd name="T23" fmla="*/ 32 h 145"/>
                <a:gd name="T24" fmla="*/ 53 w 106"/>
                <a:gd name="T25" fmla="*/ 25 h 145"/>
                <a:gd name="T26" fmla="*/ 35 w 106"/>
                <a:gd name="T27" fmla="*/ 32 h 145"/>
                <a:gd name="T28" fmla="*/ 28 w 106"/>
                <a:gd name="T29" fmla="*/ 72 h 145"/>
                <a:gd name="T30" fmla="*/ 35 w 106"/>
                <a:gd name="T31" fmla="*/ 112 h 145"/>
                <a:gd name="T32" fmla="*/ 53 w 106"/>
                <a:gd name="T33" fmla="*/ 120 h 145"/>
                <a:gd name="T34" fmla="*/ 71 w 106"/>
                <a:gd name="T35" fmla="*/ 112 h 145"/>
                <a:gd name="T36" fmla="*/ 78 w 106"/>
                <a:gd name="T37" fmla="*/ 72 h 145"/>
                <a:gd name="T38" fmla="*/ 71 w 106"/>
                <a:gd name="T39" fmla="*/ 32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6" h="145">
                  <a:moveTo>
                    <a:pt x="91" y="129"/>
                  </a:moveTo>
                  <a:lnTo>
                    <a:pt x="91" y="129"/>
                  </a:lnTo>
                  <a:cubicBezTo>
                    <a:pt x="81" y="139"/>
                    <a:pt x="69" y="145"/>
                    <a:pt x="53" y="145"/>
                  </a:cubicBezTo>
                  <a:cubicBezTo>
                    <a:pt x="37" y="145"/>
                    <a:pt x="24" y="139"/>
                    <a:pt x="14" y="129"/>
                  </a:cubicBezTo>
                  <a:cubicBezTo>
                    <a:pt x="0" y="115"/>
                    <a:pt x="0" y="97"/>
                    <a:pt x="0" y="72"/>
                  </a:cubicBezTo>
                  <a:cubicBezTo>
                    <a:pt x="0" y="48"/>
                    <a:pt x="0" y="30"/>
                    <a:pt x="14" y="16"/>
                  </a:cubicBezTo>
                  <a:cubicBezTo>
                    <a:pt x="24" y="6"/>
                    <a:pt x="37" y="0"/>
                    <a:pt x="53" y="0"/>
                  </a:cubicBezTo>
                  <a:cubicBezTo>
                    <a:pt x="69" y="0"/>
                    <a:pt x="81" y="6"/>
                    <a:pt x="91" y="16"/>
                  </a:cubicBezTo>
                  <a:cubicBezTo>
                    <a:pt x="106" y="30"/>
                    <a:pt x="105" y="48"/>
                    <a:pt x="105" y="72"/>
                  </a:cubicBezTo>
                  <a:cubicBezTo>
                    <a:pt x="105" y="97"/>
                    <a:pt x="106" y="115"/>
                    <a:pt x="91" y="129"/>
                  </a:cubicBezTo>
                  <a:close/>
                  <a:moveTo>
                    <a:pt x="71" y="32"/>
                  </a:moveTo>
                  <a:lnTo>
                    <a:pt x="71" y="32"/>
                  </a:lnTo>
                  <a:cubicBezTo>
                    <a:pt x="67" y="28"/>
                    <a:pt x="60" y="25"/>
                    <a:pt x="53" y="25"/>
                  </a:cubicBezTo>
                  <a:cubicBezTo>
                    <a:pt x="45" y="25"/>
                    <a:pt x="39" y="28"/>
                    <a:pt x="35" y="32"/>
                  </a:cubicBezTo>
                  <a:cubicBezTo>
                    <a:pt x="29" y="38"/>
                    <a:pt x="28" y="45"/>
                    <a:pt x="28" y="72"/>
                  </a:cubicBezTo>
                  <a:cubicBezTo>
                    <a:pt x="28" y="100"/>
                    <a:pt x="29" y="106"/>
                    <a:pt x="35" y="112"/>
                  </a:cubicBezTo>
                  <a:cubicBezTo>
                    <a:pt x="39" y="117"/>
                    <a:pt x="45" y="120"/>
                    <a:pt x="53" y="120"/>
                  </a:cubicBezTo>
                  <a:cubicBezTo>
                    <a:pt x="60" y="120"/>
                    <a:pt x="67" y="117"/>
                    <a:pt x="71" y="112"/>
                  </a:cubicBezTo>
                  <a:cubicBezTo>
                    <a:pt x="76" y="106"/>
                    <a:pt x="78" y="100"/>
                    <a:pt x="78" y="72"/>
                  </a:cubicBezTo>
                  <a:cubicBezTo>
                    <a:pt x="78" y="45"/>
                    <a:pt x="76" y="38"/>
                    <a:pt x="71" y="3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9" name="Freeform 53"/>
            <p:cNvSpPr>
              <a:spLocks/>
            </p:cNvSpPr>
            <p:nvPr/>
          </p:nvSpPr>
          <p:spPr bwMode="auto">
            <a:xfrm>
              <a:off x="8921750" y="-496888"/>
              <a:ext cx="93663" cy="130175"/>
            </a:xfrm>
            <a:custGeom>
              <a:avLst/>
              <a:gdLst>
                <a:gd name="T0" fmla="*/ 52 w 105"/>
                <a:gd name="T1" fmla="*/ 145 h 145"/>
                <a:gd name="T2" fmla="*/ 52 w 105"/>
                <a:gd name="T3" fmla="*/ 145 h 145"/>
                <a:gd name="T4" fmla="*/ 0 w 105"/>
                <a:gd name="T5" fmla="*/ 126 h 145"/>
                <a:gd name="T6" fmla="*/ 18 w 105"/>
                <a:gd name="T7" fmla="*/ 108 h 145"/>
                <a:gd name="T8" fmla="*/ 53 w 105"/>
                <a:gd name="T9" fmla="*/ 120 h 145"/>
                <a:gd name="T10" fmla="*/ 78 w 105"/>
                <a:gd name="T11" fmla="*/ 102 h 145"/>
                <a:gd name="T12" fmla="*/ 74 w 105"/>
                <a:gd name="T13" fmla="*/ 90 h 145"/>
                <a:gd name="T14" fmla="*/ 61 w 105"/>
                <a:gd name="T15" fmla="*/ 85 h 145"/>
                <a:gd name="T16" fmla="*/ 44 w 105"/>
                <a:gd name="T17" fmla="*/ 83 h 145"/>
                <a:gd name="T18" fmla="*/ 16 w 105"/>
                <a:gd name="T19" fmla="*/ 71 h 145"/>
                <a:gd name="T20" fmla="*/ 6 w 105"/>
                <a:gd name="T21" fmla="*/ 43 h 145"/>
                <a:gd name="T22" fmla="*/ 56 w 105"/>
                <a:gd name="T23" fmla="*/ 0 h 145"/>
                <a:gd name="T24" fmla="*/ 102 w 105"/>
                <a:gd name="T25" fmla="*/ 17 h 145"/>
                <a:gd name="T26" fmla="*/ 84 w 105"/>
                <a:gd name="T27" fmla="*/ 34 h 145"/>
                <a:gd name="T28" fmla="*/ 55 w 105"/>
                <a:gd name="T29" fmla="*/ 24 h 145"/>
                <a:gd name="T30" fmla="*/ 33 w 105"/>
                <a:gd name="T31" fmla="*/ 42 h 145"/>
                <a:gd name="T32" fmla="*/ 37 w 105"/>
                <a:gd name="T33" fmla="*/ 52 h 145"/>
                <a:gd name="T34" fmla="*/ 50 w 105"/>
                <a:gd name="T35" fmla="*/ 58 h 145"/>
                <a:gd name="T36" fmla="*/ 67 w 105"/>
                <a:gd name="T37" fmla="*/ 60 h 145"/>
                <a:gd name="T38" fmla="*/ 94 w 105"/>
                <a:gd name="T39" fmla="*/ 71 h 145"/>
                <a:gd name="T40" fmla="*/ 105 w 105"/>
                <a:gd name="T41" fmla="*/ 102 h 145"/>
                <a:gd name="T42" fmla="*/ 52 w 105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5" h="145">
                  <a:moveTo>
                    <a:pt x="52" y="145"/>
                  </a:moveTo>
                  <a:lnTo>
                    <a:pt x="52" y="145"/>
                  </a:lnTo>
                  <a:cubicBezTo>
                    <a:pt x="31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40" y="120"/>
                    <a:pt x="53" y="120"/>
                  </a:cubicBezTo>
                  <a:cubicBezTo>
                    <a:pt x="69" y="120"/>
                    <a:pt x="78" y="114"/>
                    <a:pt x="78" y="102"/>
                  </a:cubicBezTo>
                  <a:cubicBezTo>
                    <a:pt x="78" y="97"/>
                    <a:pt x="77" y="93"/>
                    <a:pt x="74" y="90"/>
                  </a:cubicBezTo>
                  <a:cubicBezTo>
                    <a:pt x="71" y="88"/>
                    <a:pt x="68" y="86"/>
                    <a:pt x="61" y="85"/>
                  </a:cubicBezTo>
                  <a:lnTo>
                    <a:pt x="44" y="83"/>
                  </a:lnTo>
                  <a:cubicBezTo>
                    <a:pt x="32" y="81"/>
                    <a:pt x="23" y="77"/>
                    <a:pt x="16" y="71"/>
                  </a:cubicBezTo>
                  <a:cubicBezTo>
                    <a:pt x="9" y="65"/>
                    <a:pt x="6" y="55"/>
                    <a:pt x="6" y="43"/>
                  </a:cubicBezTo>
                  <a:cubicBezTo>
                    <a:pt x="6" y="18"/>
                    <a:pt x="25" y="0"/>
                    <a:pt x="56" y="0"/>
                  </a:cubicBezTo>
                  <a:cubicBezTo>
                    <a:pt x="75" y="0"/>
                    <a:pt x="89" y="5"/>
                    <a:pt x="102" y="17"/>
                  </a:cubicBezTo>
                  <a:lnTo>
                    <a:pt x="84" y="34"/>
                  </a:lnTo>
                  <a:cubicBezTo>
                    <a:pt x="75" y="26"/>
                    <a:pt x="64" y="24"/>
                    <a:pt x="55" y="24"/>
                  </a:cubicBezTo>
                  <a:cubicBezTo>
                    <a:pt x="40" y="24"/>
                    <a:pt x="33" y="32"/>
                    <a:pt x="33" y="42"/>
                  </a:cubicBezTo>
                  <a:cubicBezTo>
                    <a:pt x="33" y="46"/>
                    <a:pt x="34" y="50"/>
                    <a:pt x="37" y="52"/>
                  </a:cubicBezTo>
                  <a:cubicBezTo>
                    <a:pt x="40" y="55"/>
                    <a:pt x="44" y="57"/>
                    <a:pt x="50" y="58"/>
                  </a:cubicBezTo>
                  <a:lnTo>
                    <a:pt x="67" y="60"/>
                  </a:lnTo>
                  <a:cubicBezTo>
                    <a:pt x="80" y="62"/>
                    <a:pt x="88" y="66"/>
                    <a:pt x="94" y="71"/>
                  </a:cubicBezTo>
                  <a:cubicBezTo>
                    <a:pt x="102" y="79"/>
                    <a:pt x="105" y="89"/>
                    <a:pt x="105" y="102"/>
                  </a:cubicBezTo>
                  <a:cubicBezTo>
                    <a:pt x="105" y="129"/>
                    <a:pt x="82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0" name="Freeform 54"/>
            <p:cNvSpPr>
              <a:spLocks noEditPoints="1"/>
            </p:cNvSpPr>
            <p:nvPr/>
          </p:nvSpPr>
          <p:spPr bwMode="auto">
            <a:xfrm>
              <a:off x="9024938" y="-495301"/>
              <a:ext cx="112713" cy="128588"/>
            </a:xfrm>
            <a:custGeom>
              <a:avLst/>
              <a:gdLst>
                <a:gd name="T0" fmla="*/ 97 w 126"/>
                <a:gd name="T1" fmla="*/ 143 h 143"/>
                <a:gd name="T2" fmla="*/ 97 w 126"/>
                <a:gd name="T3" fmla="*/ 143 h 143"/>
                <a:gd name="T4" fmla="*/ 89 w 126"/>
                <a:gd name="T5" fmla="*/ 117 h 143"/>
                <a:gd name="T6" fmla="*/ 38 w 126"/>
                <a:gd name="T7" fmla="*/ 117 h 143"/>
                <a:gd name="T8" fmla="*/ 29 w 126"/>
                <a:gd name="T9" fmla="*/ 143 h 143"/>
                <a:gd name="T10" fmla="*/ 0 w 126"/>
                <a:gd name="T11" fmla="*/ 143 h 143"/>
                <a:gd name="T12" fmla="*/ 52 w 126"/>
                <a:gd name="T13" fmla="*/ 0 h 143"/>
                <a:gd name="T14" fmla="*/ 74 w 126"/>
                <a:gd name="T15" fmla="*/ 0 h 143"/>
                <a:gd name="T16" fmla="*/ 126 w 126"/>
                <a:gd name="T17" fmla="*/ 143 h 143"/>
                <a:gd name="T18" fmla="*/ 97 w 126"/>
                <a:gd name="T19" fmla="*/ 143 h 143"/>
                <a:gd name="T20" fmla="*/ 64 w 126"/>
                <a:gd name="T21" fmla="*/ 42 h 143"/>
                <a:gd name="T22" fmla="*/ 64 w 126"/>
                <a:gd name="T23" fmla="*/ 42 h 143"/>
                <a:gd name="T24" fmla="*/ 46 w 126"/>
                <a:gd name="T25" fmla="*/ 94 h 143"/>
                <a:gd name="T26" fmla="*/ 81 w 126"/>
                <a:gd name="T27" fmla="*/ 94 h 143"/>
                <a:gd name="T28" fmla="*/ 64 w 126"/>
                <a:gd name="T29" fmla="*/ 4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6" h="143">
                  <a:moveTo>
                    <a:pt x="97" y="143"/>
                  </a:moveTo>
                  <a:lnTo>
                    <a:pt x="97" y="143"/>
                  </a:lnTo>
                  <a:lnTo>
                    <a:pt x="89" y="117"/>
                  </a:lnTo>
                  <a:lnTo>
                    <a:pt x="38" y="117"/>
                  </a:lnTo>
                  <a:lnTo>
                    <a:pt x="29" y="143"/>
                  </a:lnTo>
                  <a:lnTo>
                    <a:pt x="0" y="143"/>
                  </a:lnTo>
                  <a:lnTo>
                    <a:pt x="52" y="0"/>
                  </a:lnTo>
                  <a:lnTo>
                    <a:pt x="74" y="0"/>
                  </a:lnTo>
                  <a:lnTo>
                    <a:pt x="126" y="143"/>
                  </a:lnTo>
                  <a:lnTo>
                    <a:pt x="97" y="143"/>
                  </a:lnTo>
                  <a:close/>
                  <a:moveTo>
                    <a:pt x="64" y="42"/>
                  </a:moveTo>
                  <a:lnTo>
                    <a:pt x="64" y="42"/>
                  </a:lnTo>
                  <a:lnTo>
                    <a:pt x="46" y="94"/>
                  </a:lnTo>
                  <a:lnTo>
                    <a:pt x="81" y="94"/>
                  </a:lnTo>
                  <a:lnTo>
                    <a:pt x="64" y="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1" name="Freeform 55"/>
            <p:cNvSpPr>
              <a:spLocks/>
            </p:cNvSpPr>
            <p:nvPr/>
          </p:nvSpPr>
          <p:spPr bwMode="auto">
            <a:xfrm>
              <a:off x="9155113" y="-495301"/>
              <a:ext cx="82550" cy="128588"/>
            </a:xfrm>
            <a:custGeom>
              <a:avLst/>
              <a:gdLst>
                <a:gd name="T0" fmla="*/ 0 w 92"/>
                <a:gd name="T1" fmla="*/ 0 h 143"/>
                <a:gd name="T2" fmla="*/ 0 w 92"/>
                <a:gd name="T3" fmla="*/ 0 h 143"/>
                <a:gd name="T4" fmla="*/ 0 w 92"/>
                <a:gd name="T5" fmla="*/ 143 h 143"/>
                <a:gd name="T6" fmla="*/ 92 w 92"/>
                <a:gd name="T7" fmla="*/ 143 h 143"/>
                <a:gd name="T8" fmla="*/ 92 w 92"/>
                <a:gd name="T9" fmla="*/ 118 h 143"/>
                <a:gd name="T10" fmla="*/ 28 w 92"/>
                <a:gd name="T11" fmla="*/ 118 h 143"/>
                <a:gd name="T12" fmla="*/ 28 w 92"/>
                <a:gd name="T13" fmla="*/ 0 h 143"/>
                <a:gd name="T14" fmla="*/ 0 w 92"/>
                <a:gd name="T1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143">
                  <a:moveTo>
                    <a:pt x="0" y="0"/>
                  </a:moveTo>
                  <a:lnTo>
                    <a:pt x="0" y="0"/>
                  </a:lnTo>
                  <a:lnTo>
                    <a:pt x="0" y="143"/>
                  </a:lnTo>
                  <a:lnTo>
                    <a:pt x="92" y="143"/>
                  </a:lnTo>
                  <a:lnTo>
                    <a:pt x="92" y="118"/>
                  </a:lnTo>
                  <a:lnTo>
                    <a:pt x="28" y="118"/>
                  </a:lnTo>
                  <a:lnTo>
                    <a:pt x="2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52" name="Reuse/Disposal"/>
          <p:cNvGrpSpPr/>
          <p:nvPr/>
        </p:nvGrpSpPr>
        <p:grpSpPr>
          <a:xfrm>
            <a:off x="7479799" y="2253824"/>
            <a:ext cx="1170319" cy="125437"/>
            <a:chOff x="7800975" y="-508001"/>
            <a:chExt cx="1436688" cy="153988"/>
          </a:xfrm>
          <a:solidFill>
            <a:schemeClr val="accent3">
              <a:lumMod val="75000"/>
            </a:schemeClr>
          </a:solidFill>
        </p:grpSpPr>
        <p:sp>
          <p:nvSpPr>
            <p:cNvPr id="172" name="Freeform 42"/>
            <p:cNvSpPr>
              <a:spLocks noEditPoints="1"/>
            </p:cNvSpPr>
            <p:nvPr/>
          </p:nvSpPr>
          <p:spPr bwMode="auto">
            <a:xfrm>
              <a:off x="7800975" y="-495301"/>
              <a:ext cx="95250" cy="128588"/>
            </a:xfrm>
            <a:custGeom>
              <a:avLst/>
              <a:gdLst>
                <a:gd name="T0" fmla="*/ 76 w 108"/>
                <a:gd name="T1" fmla="*/ 143 h 143"/>
                <a:gd name="T2" fmla="*/ 76 w 108"/>
                <a:gd name="T3" fmla="*/ 143 h 143"/>
                <a:gd name="T4" fmla="*/ 48 w 108"/>
                <a:gd name="T5" fmla="*/ 86 h 143"/>
                <a:gd name="T6" fmla="*/ 28 w 108"/>
                <a:gd name="T7" fmla="*/ 86 h 143"/>
                <a:gd name="T8" fmla="*/ 28 w 108"/>
                <a:gd name="T9" fmla="*/ 143 h 143"/>
                <a:gd name="T10" fmla="*/ 0 w 108"/>
                <a:gd name="T11" fmla="*/ 143 h 143"/>
                <a:gd name="T12" fmla="*/ 0 w 108"/>
                <a:gd name="T13" fmla="*/ 0 h 143"/>
                <a:gd name="T14" fmla="*/ 56 w 108"/>
                <a:gd name="T15" fmla="*/ 0 h 143"/>
                <a:gd name="T16" fmla="*/ 102 w 108"/>
                <a:gd name="T17" fmla="*/ 44 h 143"/>
                <a:gd name="T18" fmla="*/ 76 w 108"/>
                <a:gd name="T19" fmla="*/ 81 h 143"/>
                <a:gd name="T20" fmla="*/ 108 w 108"/>
                <a:gd name="T21" fmla="*/ 143 h 143"/>
                <a:gd name="T22" fmla="*/ 76 w 108"/>
                <a:gd name="T23" fmla="*/ 143 h 143"/>
                <a:gd name="T24" fmla="*/ 54 w 108"/>
                <a:gd name="T25" fmla="*/ 25 h 143"/>
                <a:gd name="T26" fmla="*/ 54 w 108"/>
                <a:gd name="T27" fmla="*/ 25 h 143"/>
                <a:gd name="T28" fmla="*/ 28 w 108"/>
                <a:gd name="T29" fmla="*/ 25 h 143"/>
                <a:gd name="T30" fmla="*/ 28 w 108"/>
                <a:gd name="T31" fmla="*/ 63 h 143"/>
                <a:gd name="T32" fmla="*/ 54 w 108"/>
                <a:gd name="T33" fmla="*/ 63 h 143"/>
                <a:gd name="T34" fmla="*/ 74 w 108"/>
                <a:gd name="T35" fmla="*/ 44 h 143"/>
                <a:gd name="T36" fmla="*/ 54 w 108"/>
                <a:gd name="T37" fmla="*/ 2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8" h="143">
                  <a:moveTo>
                    <a:pt x="76" y="143"/>
                  </a:moveTo>
                  <a:lnTo>
                    <a:pt x="76" y="143"/>
                  </a:lnTo>
                  <a:lnTo>
                    <a:pt x="48" y="86"/>
                  </a:lnTo>
                  <a:lnTo>
                    <a:pt x="28" y="86"/>
                  </a:lnTo>
                  <a:lnTo>
                    <a:pt x="28" y="143"/>
                  </a:lnTo>
                  <a:lnTo>
                    <a:pt x="0" y="143"/>
                  </a:lnTo>
                  <a:lnTo>
                    <a:pt x="0" y="0"/>
                  </a:lnTo>
                  <a:lnTo>
                    <a:pt x="56" y="0"/>
                  </a:lnTo>
                  <a:cubicBezTo>
                    <a:pt x="85" y="0"/>
                    <a:pt x="102" y="20"/>
                    <a:pt x="102" y="44"/>
                  </a:cubicBezTo>
                  <a:cubicBezTo>
                    <a:pt x="102" y="64"/>
                    <a:pt x="90" y="76"/>
                    <a:pt x="76" y="81"/>
                  </a:cubicBezTo>
                  <a:lnTo>
                    <a:pt x="108" y="143"/>
                  </a:lnTo>
                  <a:lnTo>
                    <a:pt x="76" y="143"/>
                  </a:lnTo>
                  <a:close/>
                  <a:moveTo>
                    <a:pt x="54" y="25"/>
                  </a:moveTo>
                  <a:lnTo>
                    <a:pt x="54" y="25"/>
                  </a:lnTo>
                  <a:lnTo>
                    <a:pt x="28" y="25"/>
                  </a:lnTo>
                  <a:lnTo>
                    <a:pt x="28" y="63"/>
                  </a:lnTo>
                  <a:lnTo>
                    <a:pt x="54" y="63"/>
                  </a:lnTo>
                  <a:cubicBezTo>
                    <a:pt x="66" y="63"/>
                    <a:pt x="74" y="55"/>
                    <a:pt x="74" y="44"/>
                  </a:cubicBezTo>
                  <a:cubicBezTo>
                    <a:pt x="74" y="33"/>
                    <a:pt x="66" y="25"/>
                    <a:pt x="54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3" name="Freeform 43"/>
            <p:cNvSpPr>
              <a:spLocks/>
            </p:cNvSpPr>
            <p:nvPr/>
          </p:nvSpPr>
          <p:spPr bwMode="auto">
            <a:xfrm>
              <a:off x="7916863" y="-495301"/>
              <a:ext cx="84138" cy="128588"/>
            </a:xfrm>
            <a:custGeom>
              <a:avLst/>
              <a:gdLst>
                <a:gd name="T0" fmla="*/ 0 w 94"/>
                <a:gd name="T1" fmla="*/ 143 h 143"/>
                <a:gd name="T2" fmla="*/ 0 w 94"/>
                <a:gd name="T3" fmla="*/ 143 h 143"/>
                <a:gd name="T4" fmla="*/ 0 w 94"/>
                <a:gd name="T5" fmla="*/ 0 h 143"/>
                <a:gd name="T6" fmla="*/ 94 w 94"/>
                <a:gd name="T7" fmla="*/ 0 h 143"/>
                <a:gd name="T8" fmla="*/ 94 w 94"/>
                <a:gd name="T9" fmla="*/ 25 h 143"/>
                <a:gd name="T10" fmla="*/ 28 w 94"/>
                <a:gd name="T11" fmla="*/ 25 h 143"/>
                <a:gd name="T12" fmla="*/ 28 w 94"/>
                <a:gd name="T13" fmla="*/ 59 h 143"/>
                <a:gd name="T14" fmla="*/ 84 w 94"/>
                <a:gd name="T15" fmla="*/ 59 h 143"/>
                <a:gd name="T16" fmla="*/ 84 w 94"/>
                <a:gd name="T17" fmla="*/ 83 h 143"/>
                <a:gd name="T18" fmla="*/ 28 w 94"/>
                <a:gd name="T19" fmla="*/ 83 h 143"/>
                <a:gd name="T20" fmla="*/ 28 w 94"/>
                <a:gd name="T21" fmla="*/ 118 h 143"/>
                <a:gd name="T22" fmla="*/ 94 w 94"/>
                <a:gd name="T23" fmla="*/ 118 h 143"/>
                <a:gd name="T24" fmla="*/ 94 w 94"/>
                <a:gd name="T25" fmla="*/ 143 h 143"/>
                <a:gd name="T26" fmla="*/ 0 w 94"/>
                <a:gd name="T27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4" h="143">
                  <a:moveTo>
                    <a:pt x="0" y="143"/>
                  </a:moveTo>
                  <a:lnTo>
                    <a:pt x="0" y="14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25"/>
                  </a:lnTo>
                  <a:lnTo>
                    <a:pt x="28" y="25"/>
                  </a:lnTo>
                  <a:lnTo>
                    <a:pt x="28" y="59"/>
                  </a:lnTo>
                  <a:lnTo>
                    <a:pt x="84" y="59"/>
                  </a:lnTo>
                  <a:lnTo>
                    <a:pt x="84" y="83"/>
                  </a:lnTo>
                  <a:lnTo>
                    <a:pt x="28" y="83"/>
                  </a:lnTo>
                  <a:lnTo>
                    <a:pt x="28" y="118"/>
                  </a:lnTo>
                  <a:lnTo>
                    <a:pt x="94" y="118"/>
                  </a:lnTo>
                  <a:lnTo>
                    <a:pt x="94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4" name="Freeform 44"/>
            <p:cNvSpPr>
              <a:spLocks/>
            </p:cNvSpPr>
            <p:nvPr/>
          </p:nvSpPr>
          <p:spPr bwMode="auto">
            <a:xfrm>
              <a:off x="8021638" y="-495301"/>
              <a:ext cx="93663" cy="128588"/>
            </a:xfrm>
            <a:custGeom>
              <a:avLst/>
              <a:gdLst>
                <a:gd name="T0" fmla="*/ 53 w 105"/>
                <a:gd name="T1" fmla="*/ 144 h 144"/>
                <a:gd name="T2" fmla="*/ 53 w 105"/>
                <a:gd name="T3" fmla="*/ 144 h 144"/>
                <a:gd name="T4" fmla="*/ 0 w 105"/>
                <a:gd name="T5" fmla="*/ 94 h 144"/>
                <a:gd name="T6" fmla="*/ 0 w 105"/>
                <a:gd name="T7" fmla="*/ 0 h 144"/>
                <a:gd name="T8" fmla="*/ 28 w 105"/>
                <a:gd name="T9" fmla="*/ 0 h 144"/>
                <a:gd name="T10" fmla="*/ 28 w 105"/>
                <a:gd name="T11" fmla="*/ 93 h 144"/>
                <a:gd name="T12" fmla="*/ 53 w 105"/>
                <a:gd name="T13" fmla="*/ 119 h 144"/>
                <a:gd name="T14" fmla="*/ 77 w 105"/>
                <a:gd name="T15" fmla="*/ 93 h 144"/>
                <a:gd name="T16" fmla="*/ 77 w 105"/>
                <a:gd name="T17" fmla="*/ 0 h 144"/>
                <a:gd name="T18" fmla="*/ 105 w 105"/>
                <a:gd name="T19" fmla="*/ 0 h 144"/>
                <a:gd name="T20" fmla="*/ 105 w 105"/>
                <a:gd name="T21" fmla="*/ 94 h 144"/>
                <a:gd name="T22" fmla="*/ 53 w 105"/>
                <a:gd name="T2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5" h="144">
                  <a:moveTo>
                    <a:pt x="53" y="144"/>
                  </a:moveTo>
                  <a:lnTo>
                    <a:pt x="53" y="144"/>
                  </a:lnTo>
                  <a:cubicBezTo>
                    <a:pt x="23" y="144"/>
                    <a:pt x="0" y="124"/>
                    <a:pt x="0" y="94"/>
                  </a:cubicBezTo>
                  <a:lnTo>
                    <a:pt x="0" y="0"/>
                  </a:lnTo>
                  <a:lnTo>
                    <a:pt x="28" y="0"/>
                  </a:lnTo>
                  <a:lnTo>
                    <a:pt x="28" y="93"/>
                  </a:lnTo>
                  <a:cubicBezTo>
                    <a:pt x="28" y="109"/>
                    <a:pt x="38" y="119"/>
                    <a:pt x="53" y="119"/>
                  </a:cubicBezTo>
                  <a:cubicBezTo>
                    <a:pt x="68" y="119"/>
                    <a:pt x="77" y="109"/>
                    <a:pt x="77" y="93"/>
                  </a:cubicBezTo>
                  <a:lnTo>
                    <a:pt x="77" y="0"/>
                  </a:lnTo>
                  <a:lnTo>
                    <a:pt x="105" y="0"/>
                  </a:lnTo>
                  <a:lnTo>
                    <a:pt x="105" y="94"/>
                  </a:lnTo>
                  <a:cubicBezTo>
                    <a:pt x="105" y="124"/>
                    <a:pt x="82" y="144"/>
                    <a:pt x="53" y="1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5" name="Freeform 45"/>
            <p:cNvSpPr>
              <a:spLocks/>
            </p:cNvSpPr>
            <p:nvPr/>
          </p:nvSpPr>
          <p:spPr bwMode="auto">
            <a:xfrm>
              <a:off x="8131175" y="-496888"/>
              <a:ext cx="92075" cy="130175"/>
            </a:xfrm>
            <a:custGeom>
              <a:avLst/>
              <a:gdLst>
                <a:gd name="T0" fmla="*/ 52 w 104"/>
                <a:gd name="T1" fmla="*/ 145 h 145"/>
                <a:gd name="T2" fmla="*/ 52 w 104"/>
                <a:gd name="T3" fmla="*/ 145 h 145"/>
                <a:gd name="T4" fmla="*/ 0 w 104"/>
                <a:gd name="T5" fmla="*/ 126 h 145"/>
                <a:gd name="T6" fmla="*/ 18 w 104"/>
                <a:gd name="T7" fmla="*/ 108 h 145"/>
                <a:gd name="T8" fmla="*/ 52 w 104"/>
                <a:gd name="T9" fmla="*/ 120 h 145"/>
                <a:gd name="T10" fmla="*/ 77 w 104"/>
                <a:gd name="T11" fmla="*/ 102 h 145"/>
                <a:gd name="T12" fmla="*/ 73 w 104"/>
                <a:gd name="T13" fmla="*/ 90 h 145"/>
                <a:gd name="T14" fmla="*/ 60 w 104"/>
                <a:gd name="T15" fmla="*/ 85 h 145"/>
                <a:gd name="T16" fmla="*/ 43 w 104"/>
                <a:gd name="T17" fmla="*/ 83 h 145"/>
                <a:gd name="T18" fmla="*/ 15 w 104"/>
                <a:gd name="T19" fmla="*/ 71 h 145"/>
                <a:gd name="T20" fmla="*/ 5 w 104"/>
                <a:gd name="T21" fmla="*/ 43 h 145"/>
                <a:gd name="T22" fmla="*/ 55 w 104"/>
                <a:gd name="T23" fmla="*/ 0 h 145"/>
                <a:gd name="T24" fmla="*/ 101 w 104"/>
                <a:gd name="T25" fmla="*/ 17 h 145"/>
                <a:gd name="T26" fmla="*/ 83 w 104"/>
                <a:gd name="T27" fmla="*/ 34 h 145"/>
                <a:gd name="T28" fmla="*/ 54 w 104"/>
                <a:gd name="T29" fmla="*/ 24 h 145"/>
                <a:gd name="T30" fmla="*/ 32 w 104"/>
                <a:gd name="T31" fmla="*/ 42 h 145"/>
                <a:gd name="T32" fmla="*/ 36 w 104"/>
                <a:gd name="T33" fmla="*/ 52 h 145"/>
                <a:gd name="T34" fmla="*/ 49 w 104"/>
                <a:gd name="T35" fmla="*/ 58 h 145"/>
                <a:gd name="T36" fmla="*/ 66 w 104"/>
                <a:gd name="T37" fmla="*/ 60 h 145"/>
                <a:gd name="T38" fmla="*/ 93 w 104"/>
                <a:gd name="T39" fmla="*/ 71 h 145"/>
                <a:gd name="T40" fmla="*/ 104 w 104"/>
                <a:gd name="T41" fmla="*/ 102 h 145"/>
                <a:gd name="T42" fmla="*/ 52 w 104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4" h="145">
                  <a:moveTo>
                    <a:pt x="52" y="145"/>
                  </a:moveTo>
                  <a:lnTo>
                    <a:pt x="52" y="145"/>
                  </a:lnTo>
                  <a:cubicBezTo>
                    <a:pt x="30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39" y="120"/>
                    <a:pt x="52" y="120"/>
                  </a:cubicBezTo>
                  <a:cubicBezTo>
                    <a:pt x="68" y="120"/>
                    <a:pt x="77" y="114"/>
                    <a:pt x="77" y="102"/>
                  </a:cubicBezTo>
                  <a:cubicBezTo>
                    <a:pt x="77" y="97"/>
                    <a:pt x="76" y="93"/>
                    <a:pt x="73" y="90"/>
                  </a:cubicBezTo>
                  <a:cubicBezTo>
                    <a:pt x="70" y="88"/>
                    <a:pt x="67" y="86"/>
                    <a:pt x="60" y="85"/>
                  </a:cubicBezTo>
                  <a:lnTo>
                    <a:pt x="43" y="83"/>
                  </a:lnTo>
                  <a:cubicBezTo>
                    <a:pt x="31" y="81"/>
                    <a:pt x="22" y="77"/>
                    <a:pt x="15" y="71"/>
                  </a:cubicBezTo>
                  <a:cubicBezTo>
                    <a:pt x="9" y="65"/>
                    <a:pt x="5" y="55"/>
                    <a:pt x="5" y="43"/>
                  </a:cubicBezTo>
                  <a:cubicBezTo>
                    <a:pt x="5" y="18"/>
                    <a:pt x="24" y="0"/>
                    <a:pt x="55" y="0"/>
                  </a:cubicBezTo>
                  <a:cubicBezTo>
                    <a:pt x="74" y="0"/>
                    <a:pt x="89" y="5"/>
                    <a:pt x="101" y="17"/>
                  </a:cubicBezTo>
                  <a:lnTo>
                    <a:pt x="83" y="34"/>
                  </a:lnTo>
                  <a:cubicBezTo>
                    <a:pt x="74" y="26"/>
                    <a:pt x="63" y="24"/>
                    <a:pt x="54" y="24"/>
                  </a:cubicBezTo>
                  <a:cubicBezTo>
                    <a:pt x="39" y="24"/>
                    <a:pt x="32" y="32"/>
                    <a:pt x="32" y="42"/>
                  </a:cubicBezTo>
                  <a:cubicBezTo>
                    <a:pt x="32" y="46"/>
                    <a:pt x="33" y="50"/>
                    <a:pt x="36" y="52"/>
                  </a:cubicBezTo>
                  <a:cubicBezTo>
                    <a:pt x="39" y="55"/>
                    <a:pt x="44" y="57"/>
                    <a:pt x="49" y="58"/>
                  </a:cubicBezTo>
                  <a:lnTo>
                    <a:pt x="66" y="60"/>
                  </a:lnTo>
                  <a:cubicBezTo>
                    <a:pt x="79" y="62"/>
                    <a:pt x="87" y="66"/>
                    <a:pt x="93" y="71"/>
                  </a:cubicBezTo>
                  <a:cubicBezTo>
                    <a:pt x="101" y="79"/>
                    <a:pt x="104" y="89"/>
                    <a:pt x="104" y="102"/>
                  </a:cubicBezTo>
                  <a:cubicBezTo>
                    <a:pt x="104" y="129"/>
                    <a:pt x="81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6" name="Freeform 46"/>
            <p:cNvSpPr>
              <a:spLocks/>
            </p:cNvSpPr>
            <p:nvPr/>
          </p:nvSpPr>
          <p:spPr bwMode="auto">
            <a:xfrm>
              <a:off x="8245475" y="-495301"/>
              <a:ext cx="84138" cy="128588"/>
            </a:xfrm>
            <a:custGeom>
              <a:avLst/>
              <a:gdLst>
                <a:gd name="T0" fmla="*/ 0 w 93"/>
                <a:gd name="T1" fmla="*/ 143 h 143"/>
                <a:gd name="T2" fmla="*/ 0 w 93"/>
                <a:gd name="T3" fmla="*/ 143 h 143"/>
                <a:gd name="T4" fmla="*/ 0 w 93"/>
                <a:gd name="T5" fmla="*/ 0 h 143"/>
                <a:gd name="T6" fmla="*/ 93 w 93"/>
                <a:gd name="T7" fmla="*/ 0 h 143"/>
                <a:gd name="T8" fmla="*/ 93 w 93"/>
                <a:gd name="T9" fmla="*/ 25 h 143"/>
                <a:gd name="T10" fmla="*/ 27 w 93"/>
                <a:gd name="T11" fmla="*/ 25 h 143"/>
                <a:gd name="T12" fmla="*/ 27 w 93"/>
                <a:gd name="T13" fmla="*/ 59 h 143"/>
                <a:gd name="T14" fmla="*/ 84 w 93"/>
                <a:gd name="T15" fmla="*/ 59 h 143"/>
                <a:gd name="T16" fmla="*/ 84 w 93"/>
                <a:gd name="T17" fmla="*/ 83 h 143"/>
                <a:gd name="T18" fmla="*/ 27 w 93"/>
                <a:gd name="T19" fmla="*/ 83 h 143"/>
                <a:gd name="T20" fmla="*/ 27 w 93"/>
                <a:gd name="T21" fmla="*/ 118 h 143"/>
                <a:gd name="T22" fmla="*/ 93 w 93"/>
                <a:gd name="T23" fmla="*/ 118 h 143"/>
                <a:gd name="T24" fmla="*/ 93 w 93"/>
                <a:gd name="T25" fmla="*/ 143 h 143"/>
                <a:gd name="T26" fmla="*/ 0 w 93"/>
                <a:gd name="T27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3" h="143">
                  <a:moveTo>
                    <a:pt x="0" y="143"/>
                  </a:moveTo>
                  <a:lnTo>
                    <a:pt x="0" y="143"/>
                  </a:lnTo>
                  <a:lnTo>
                    <a:pt x="0" y="0"/>
                  </a:lnTo>
                  <a:lnTo>
                    <a:pt x="93" y="0"/>
                  </a:lnTo>
                  <a:lnTo>
                    <a:pt x="93" y="25"/>
                  </a:lnTo>
                  <a:lnTo>
                    <a:pt x="27" y="25"/>
                  </a:lnTo>
                  <a:lnTo>
                    <a:pt x="27" y="59"/>
                  </a:lnTo>
                  <a:lnTo>
                    <a:pt x="84" y="59"/>
                  </a:lnTo>
                  <a:lnTo>
                    <a:pt x="84" y="83"/>
                  </a:lnTo>
                  <a:lnTo>
                    <a:pt x="27" y="83"/>
                  </a:lnTo>
                  <a:lnTo>
                    <a:pt x="27" y="118"/>
                  </a:lnTo>
                  <a:lnTo>
                    <a:pt x="93" y="118"/>
                  </a:lnTo>
                  <a:lnTo>
                    <a:pt x="93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7" name="Freeform 47"/>
            <p:cNvSpPr>
              <a:spLocks/>
            </p:cNvSpPr>
            <p:nvPr/>
          </p:nvSpPr>
          <p:spPr bwMode="auto">
            <a:xfrm>
              <a:off x="8342313" y="-508001"/>
              <a:ext cx="71438" cy="153988"/>
            </a:xfrm>
            <a:custGeom>
              <a:avLst/>
              <a:gdLst>
                <a:gd name="T0" fmla="*/ 57 w 81"/>
                <a:gd name="T1" fmla="*/ 0 h 172"/>
                <a:gd name="T2" fmla="*/ 57 w 81"/>
                <a:gd name="T3" fmla="*/ 0 h 172"/>
                <a:gd name="T4" fmla="*/ 0 w 81"/>
                <a:gd name="T5" fmla="*/ 172 h 172"/>
                <a:gd name="T6" fmla="*/ 24 w 81"/>
                <a:gd name="T7" fmla="*/ 172 h 172"/>
                <a:gd name="T8" fmla="*/ 81 w 81"/>
                <a:gd name="T9" fmla="*/ 0 h 172"/>
                <a:gd name="T10" fmla="*/ 57 w 81"/>
                <a:gd name="T11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172">
                  <a:moveTo>
                    <a:pt x="57" y="0"/>
                  </a:moveTo>
                  <a:lnTo>
                    <a:pt x="57" y="0"/>
                  </a:lnTo>
                  <a:lnTo>
                    <a:pt x="0" y="172"/>
                  </a:lnTo>
                  <a:lnTo>
                    <a:pt x="24" y="172"/>
                  </a:lnTo>
                  <a:lnTo>
                    <a:pt x="81" y="0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8" name="Freeform 48"/>
            <p:cNvSpPr>
              <a:spLocks noEditPoints="1"/>
            </p:cNvSpPr>
            <p:nvPr/>
          </p:nvSpPr>
          <p:spPr bwMode="auto">
            <a:xfrm>
              <a:off x="8429625" y="-495301"/>
              <a:ext cx="93663" cy="128588"/>
            </a:xfrm>
            <a:custGeom>
              <a:avLst/>
              <a:gdLst>
                <a:gd name="T0" fmla="*/ 89 w 105"/>
                <a:gd name="T1" fmla="*/ 129 h 143"/>
                <a:gd name="T2" fmla="*/ 89 w 105"/>
                <a:gd name="T3" fmla="*/ 129 h 143"/>
                <a:gd name="T4" fmla="*/ 51 w 105"/>
                <a:gd name="T5" fmla="*/ 143 h 143"/>
                <a:gd name="T6" fmla="*/ 0 w 105"/>
                <a:gd name="T7" fmla="*/ 143 h 143"/>
                <a:gd name="T8" fmla="*/ 0 w 105"/>
                <a:gd name="T9" fmla="*/ 0 h 143"/>
                <a:gd name="T10" fmla="*/ 51 w 105"/>
                <a:gd name="T11" fmla="*/ 0 h 143"/>
                <a:gd name="T12" fmla="*/ 89 w 105"/>
                <a:gd name="T13" fmla="*/ 14 h 143"/>
                <a:gd name="T14" fmla="*/ 103 w 105"/>
                <a:gd name="T15" fmla="*/ 71 h 143"/>
                <a:gd name="T16" fmla="*/ 89 w 105"/>
                <a:gd name="T17" fmla="*/ 129 h 143"/>
                <a:gd name="T18" fmla="*/ 69 w 105"/>
                <a:gd name="T19" fmla="*/ 34 h 143"/>
                <a:gd name="T20" fmla="*/ 69 w 105"/>
                <a:gd name="T21" fmla="*/ 34 h 143"/>
                <a:gd name="T22" fmla="*/ 48 w 105"/>
                <a:gd name="T23" fmla="*/ 25 h 143"/>
                <a:gd name="T24" fmla="*/ 27 w 105"/>
                <a:gd name="T25" fmla="*/ 25 h 143"/>
                <a:gd name="T26" fmla="*/ 27 w 105"/>
                <a:gd name="T27" fmla="*/ 118 h 143"/>
                <a:gd name="T28" fmla="*/ 48 w 105"/>
                <a:gd name="T29" fmla="*/ 118 h 143"/>
                <a:gd name="T30" fmla="*/ 69 w 105"/>
                <a:gd name="T31" fmla="*/ 109 h 143"/>
                <a:gd name="T32" fmla="*/ 75 w 105"/>
                <a:gd name="T33" fmla="*/ 71 h 143"/>
                <a:gd name="T34" fmla="*/ 69 w 105"/>
                <a:gd name="T35" fmla="*/ 3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" h="143">
                  <a:moveTo>
                    <a:pt x="89" y="129"/>
                  </a:moveTo>
                  <a:lnTo>
                    <a:pt x="89" y="129"/>
                  </a:lnTo>
                  <a:cubicBezTo>
                    <a:pt x="79" y="138"/>
                    <a:pt x="66" y="143"/>
                    <a:pt x="51" y="143"/>
                  </a:cubicBezTo>
                  <a:lnTo>
                    <a:pt x="0" y="143"/>
                  </a:lnTo>
                  <a:lnTo>
                    <a:pt x="0" y="0"/>
                  </a:lnTo>
                  <a:lnTo>
                    <a:pt x="51" y="0"/>
                  </a:lnTo>
                  <a:cubicBezTo>
                    <a:pt x="66" y="0"/>
                    <a:pt x="79" y="5"/>
                    <a:pt x="89" y="14"/>
                  </a:cubicBezTo>
                  <a:cubicBezTo>
                    <a:pt x="105" y="30"/>
                    <a:pt x="103" y="50"/>
                    <a:pt x="103" y="71"/>
                  </a:cubicBezTo>
                  <a:cubicBezTo>
                    <a:pt x="103" y="92"/>
                    <a:pt x="105" y="113"/>
                    <a:pt x="89" y="129"/>
                  </a:cubicBezTo>
                  <a:close/>
                  <a:moveTo>
                    <a:pt x="69" y="34"/>
                  </a:moveTo>
                  <a:lnTo>
                    <a:pt x="69" y="34"/>
                  </a:lnTo>
                  <a:cubicBezTo>
                    <a:pt x="64" y="28"/>
                    <a:pt x="58" y="25"/>
                    <a:pt x="48" y="25"/>
                  </a:cubicBezTo>
                  <a:lnTo>
                    <a:pt x="27" y="25"/>
                  </a:lnTo>
                  <a:lnTo>
                    <a:pt x="27" y="118"/>
                  </a:lnTo>
                  <a:lnTo>
                    <a:pt x="48" y="118"/>
                  </a:lnTo>
                  <a:cubicBezTo>
                    <a:pt x="58" y="118"/>
                    <a:pt x="64" y="115"/>
                    <a:pt x="69" y="109"/>
                  </a:cubicBezTo>
                  <a:cubicBezTo>
                    <a:pt x="74" y="103"/>
                    <a:pt x="75" y="93"/>
                    <a:pt x="75" y="71"/>
                  </a:cubicBezTo>
                  <a:cubicBezTo>
                    <a:pt x="75" y="49"/>
                    <a:pt x="74" y="40"/>
                    <a:pt x="69" y="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9" name="Freeform 49"/>
            <p:cNvSpPr>
              <a:spLocks/>
            </p:cNvSpPr>
            <p:nvPr/>
          </p:nvSpPr>
          <p:spPr bwMode="auto">
            <a:xfrm>
              <a:off x="8545513" y="-495301"/>
              <a:ext cx="25400" cy="128588"/>
            </a:xfrm>
            <a:custGeom>
              <a:avLst/>
              <a:gdLst>
                <a:gd name="T0" fmla="*/ 0 w 27"/>
                <a:gd name="T1" fmla="*/ 0 h 143"/>
                <a:gd name="T2" fmla="*/ 0 w 27"/>
                <a:gd name="T3" fmla="*/ 0 h 143"/>
                <a:gd name="T4" fmla="*/ 27 w 27"/>
                <a:gd name="T5" fmla="*/ 0 h 143"/>
                <a:gd name="T6" fmla="*/ 27 w 27"/>
                <a:gd name="T7" fmla="*/ 143 h 143"/>
                <a:gd name="T8" fmla="*/ 0 w 27"/>
                <a:gd name="T9" fmla="*/ 143 h 143"/>
                <a:gd name="T10" fmla="*/ 0 w 27"/>
                <a:gd name="T11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143">
                  <a:moveTo>
                    <a:pt x="0" y="0"/>
                  </a:moveTo>
                  <a:lnTo>
                    <a:pt x="0" y="0"/>
                  </a:lnTo>
                  <a:lnTo>
                    <a:pt x="27" y="0"/>
                  </a:lnTo>
                  <a:lnTo>
                    <a:pt x="27" y="143"/>
                  </a:lnTo>
                  <a:lnTo>
                    <a:pt x="0" y="14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0" name="Freeform 50"/>
            <p:cNvSpPr>
              <a:spLocks/>
            </p:cNvSpPr>
            <p:nvPr/>
          </p:nvSpPr>
          <p:spPr bwMode="auto">
            <a:xfrm>
              <a:off x="8589963" y="-496888"/>
              <a:ext cx="92075" cy="130175"/>
            </a:xfrm>
            <a:custGeom>
              <a:avLst/>
              <a:gdLst>
                <a:gd name="T0" fmla="*/ 52 w 104"/>
                <a:gd name="T1" fmla="*/ 145 h 145"/>
                <a:gd name="T2" fmla="*/ 52 w 104"/>
                <a:gd name="T3" fmla="*/ 145 h 145"/>
                <a:gd name="T4" fmla="*/ 0 w 104"/>
                <a:gd name="T5" fmla="*/ 126 h 145"/>
                <a:gd name="T6" fmla="*/ 18 w 104"/>
                <a:gd name="T7" fmla="*/ 108 h 145"/>
                <a:gd name="T8" fmla="*/ 52 w 104"/>
                <a:gd name="T9" fmla="*/ 120 h 145"/>
                <a:gd name="T10" fmla="*/ 77 w 104"/>
                <a:gd name="T11" fmla="*/ 102 h 145"/>
                <a:gd name="T12" fmla="*/ 73 w 104"/>
                <a:gd name="T13" fmla="*/ 90 h 145"/>
                <a:gd name="T14" fmla="*/ 60 w 104"/>
                <a:gd name="T15" fmla="*/ 85 h 145"/>
                <a:gd name="T16" fmla="*/ 43 w 104"/>
                <a:gd name="T17" fmla="*/ 83 h 145"/>
                <a:gd name="T18" fmla="*/ 15 w 104"/>
                <a:gd name="T19" fmla="*/ 71 h 145"/>
                <a:gd name="T20" fmla="*/ 5 w 104"/>
                <a:gd name="T21" fmla="*/ 43 h 145"/>
                <a:gd name="T22" fmla="*/ 55 w 104"/>
                <a:gd name="T23" fmla="*/ 0 h 145"/>
                <a:gd name="T24" fmla="*/ 101 w 104"/>
                <a:gd name="T25" fmla="*/ 17 h 145"/>
                <a:gd name="T26" fmla="*/ 83 w 104"/>
                <a:gd name="T27" fmla="*/ 34 h 145"/>
                <a:gd name="T28" fmla="*/ 54 w 104"/>
                <a:gd name="T29" fmla="*/ 24 h 145"/>
                <a:gd name="T30" fmla="*/ 32 w 104"/>
                <a:gd name="T31" fmla="*/ 42 h 145"/>
                <a:gd name="T32" fmla="*/ 36 w 104"/>
                <a:gd name="T33" fmla="*/ 52 h 145"/>
                <a:gd name="T34" fmla="*/ 49 w 104"/>
                <a:gd name="T35" fmla="*/ 58 h 145"/>
                <a:gd name="T36" fmla="*/ 66 w 104"/>
                <a:gd name="T37" fmla="*/ 60 h 145"/>
                <a:gd name="T38" fmla="*/ 93 w 104"/>
                <a:gd name="T39" fmla="*/ 71 h 145"/>
                <a:gd name="T40" fmla="*/ 104 w 104"/>
                <a:gd name="T41" fmla="*/ 102 h 145"/>
                <a:gd name="T42" fmla="*/ 52 w 104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4" h="145">
                  <a:moveTo>
                    <a:pt x="52" y="145"/>
                  </a:moveTo>
                  <a:lnTo>
                    <a:pt x="52" y="145"/>
                  </a:lnTo>
                  <a:cubicBezTo>
                    <a:pt x="30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39" y="120"/>
                    <a:pt x="52" y="120"/>
                  </a:cubicBezTo>
                  <a:cubicBezTo>
                    <a:pt x="68" y="120"/>
                    <a:pt x="77" y="114"/>
                    <a:pt x="77" y="102"/>
                  </a:cubicBezTo>
                  <a:cubicBezTo>
                    <a:pt x="77" y="97"/>
                    <a:pt x="76" y="93"/>
                    <a:pt x="73" y="90"/>
                  </a:cubicBezTo>
                  <a:cubicBezTo>
                    <a:pt x="70" y="88"/>
                    <a:pt x="67" y="86"/>
                    <a:pt x="60" y="85"/>
                  </a:cubicBezTo>
                  <a:lnTo>
                    <a:pt x="43" y="83"/>
                  </a:lnTo>
                  <a:cubicBezTo>
                    <a:pt x="31" y="81"/>
                    <a:pt x="22" y="77"/>
                    <a:pt x="15" y="71"/>
                  </a:cubicBezTo>
                  <a:cubicBezTo>
                    <a:pt x="9" y="65"/>
                    <a:pt x="5" y="55"/>
                    <a:pt x="5" y="43"/>
                  </a:cubicBezTo>
                  <a:cubicBezTo>
                    <a:pt x="5" y="18"/>
                    <a:pt x="24" y="0"/>
                    <a:pt x="55" y="0"/>
                  </a:cubicBezTo>
                  <a:cubicBezTo>
                    <a:pt x="74" y="0"/>
                    <a:pt x="89" y="5"/>
                    <a:pt x="101" y="17"/>
                  </a:cubicBezTo>
                  <a:lnTo>
                    <a:pt x="83" y="34"/>
                  </a:lnTo>
                  <a:cubicBezTo>
                    <a:pt x="74" y="26"/>
                    <a:pt x="63" y="24"/>
                    <a:pt x="54" y="24"/>
                  </a:cubicBezTo>
                  <a:cubicBezTo>
                    <a:pt x="39" y="24"/>
                    <a:pt x="32" y="32"/>
                    <a:pt x="32" y="42"/>
                  </a:cubicBezTo>
                  <a:cubicBezTo>
                    <a:pt x="32" y="46"/>
                    <a:pt x="33" y="50"/>
                    <a:pt x="36" y="52"/>
                  </a:cubicBezTo>
                  <a:cubicBezTo>
                    <a:pt x="39" y="55"/>
                    <a:pt x="44" y="57"/>
                    <a:pt x="49" y="58"/>
                  </a:cubicBezTo>
                  <a:lnTo>
                    <a:pt x="66" y="60"/>
                  </a:lnTo>
                  <a:cubicBezTo>
                    <a:pt x="79" y="62"/>
                    <a:pt x="87" y="66"/>
                    <a:pt x="93" y="71"/>
                  </a:cubicBezTo>
                  <a:cubicBezTo>
                    <a:pt x="101" y="79"/>
                    <a:pt x="104" y="89"/>
                    <a:pt x="104" y="102"/>
                  </a:cubicBezTo>
                  <a:cubicBezTo>
                    <a:pt x="104" y="129"/>
                    <a:pt x="81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1" name="Freeform 51"/>
            <p:cNvSpPr>
              <a:spLocks noEditPoints="1"/>
            </p:cNvSpPr>
            <p:nvPr/>
          </p:nvSpPr>
          <p:spPr bwMode="auto">
            <a:xfrm>
              <a:off x="8704263" y="-495301"/>
              <a:ext cx="92075" cy="128588"/>
            </a:xfrm>
            <a:custGeom>
              <a:avLst/>
              <a:gdLst>
                <a:gd name="T0" fmla="*/ 55 w 102"/>
                <a:gd name="T1" fmla="*/ 89 h 143"/>
                <a:gd name="T2" fmla="*/ 55 w 102"/>
                <a:gd name="T3" fmla="*/ 89 h 143"/>
                <a:gd name="T4" fmla="*/ 27 w 102"/>
                <a:gd name="T5" fmla="*/ 89 h 143"/>
                <a:gd name="T6" fmla="*/ 27 w 102"/>
                <a:gd name="T7" fmla="*/ 143 h 143"/>
                <a:gd name="T8" fmla="*/ 0 w 102"/>
                <a:gd name="T9" fmla="*/ 143 h 143"/>
                <a:gd name="T10" fmla="*/ 0 w 102"/>
                <a:gd name="T11" fmla="*/ 0 h 143"/>
                <a:gd name="T12" fmla="*/ 55 w 102"/>
                <a:gd name="T13" fmla="*/ 0 h 143"/>
                <a:gd name="T14" fmla="*/ 102 w 102"/>
                <a:gd name="T15" fmla="*/ 45 h 143"/>
                <a:gd name="T16" fmla="*/ 55 w 102"/>
                <a:gd name="T17" fmla="*/ 89 h 143"/>
                <a:gd name="T18" fmla="*/ 53 w 102"/>
                <a:gd name="T19" fmla="*/ 25 h 143"/>
                <a:gd name="T20" fmla="*/ 53 w 102"/>
                <a:gd name="T21" fmla="*/ 25 h 143"/>
                <a:gd name="T22" fmla="*/ 27 w 102"/>
                <a:gd name="T23" fmla="*/ 25 h 143"/>
                <a:gd name="T24" fmla="*/ 27 w 102"/>
                <a:gd name="T25" fmla="*/ 64 h 143"/>
                <a:gd name="T26" fmla="*/ 53 w 102"/>
                <a:gd name="T27" fmla="*/ 64 h 143"/>
                <a:gd name="T28" fmla="*/ 74 w 102"/>
                <a:gd name="T29" fmla="*/ 45 h 143"/>
                <a:gd name="T30" fmla="*/ 53 w 102"/>
                <a:gd name="T31" fmla="*/ 2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2" h="143">
                  <a:moveTo>
                    <a:pt x="55" y="89"/>
                  </a:moveTo>
                  <a:lnTo>
                    <a:pt x="55" y="89"/>
                  </a:lnTo>
                  <a:lnTo>
                    <a:pt x="27" y="89"/>
                  </a:lnTo>
                  <a:lnTo>
                    <a:pt x="27" y="143"/>
                  </a:lnTo>
                  <a:lnTo>
                    <a:pt x="0" y="143"/>
                  </a:lnTo>
                  <a:lnTo>
                    <a:pt x="0" y="0"/>
                  </a:lnTo>
                  <a:lnTo>
                    <a:pt x="55" y="0"/>
                  </a:lnTo>
                  <a:cubicBezTo>
                    <a:pt x="84" y="0"/>
                    <a:pt x="102" y="20"/>
                    <a:pt x="102" y="45"/>
                  </a:cubicBezTo>
                  <a:cubicBezTo>
                    <a:pt x="102" y="69"/>
                    <a:pt x="84" y="89"/>
                    <a:pt x="55" y="89"/>
                  </a:cubicBezTo>
                  <a:close/>
                  <a:moveTo>
                    <a:pt x="53" y="25"/>
                  </a:moveTo>
                  <a:lnTo>
                    <a:pt x="53" y="25"/>
                  </a:lnTo>
                  <a:lnTo>
                    <a:pt x="27" y="25"/>
                  </a:lnTo>
                  <a:lnTo>
                    <a:pt x="27" y="64"/>
                  </a:lnTo>
                  <a:lnTo>
                    <a:pt x="53" y="64"/>
                  </a:lnTo>
                  <a:cubicBezTo>
                    <a:pt x="66" y="64"/>
                    <a:pt x="74" y="56"/>
                    <a:pt x="74" y="45"/>
                  </a:cubicBezTo>
                  <a:cubicBezTo>
                    <a:pt x="74" y="33"/>
                    <a:pt x="66" y="25"/>
                    <a:pt x="53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2" name="Freeform 52"/>
            <p:cNvSpPr>
              <a:spLocks noEditPoints="1"/>
            </p:cNvSpPr>
            <p:nvPr/>
          </p:nvSpPr>
          <p:spPr bwMode="auto">
            <a:xfrm>
              <a:off x="8813800" y="-496888"/>
              <a:ext cx="93663" cy="130175"/>
            </a:xfrm>
            <a:custGeom>
              <a:avLst/>
              <a:gdLst>
                <a:gd name="T0" fmla="*/ 91 w 106"/>
                <a:gd name="T1" fmla="*/ 129 h 145"/>
                <a:gd name="T2" fmla="*/ 91 w 106"/>
                <a:gd name="T3" fmla="*/ 129 h 145"/>
                <a:gd name="T4" fmla="*/ 53 w 106"/>
                <a:gd name="T5" fmla="*/ 145 h 145"/>
                <a:gd name="T6" fmla="*/ 14 w 106"/>
                <a:gd name="T7" fmla="*/ 129 h 145"/>
                <a:gd name="T8" fmla="*/ 0 w 106"/>
                <a:gd name="T9" fmla="*/ 72 h 145"/>
                <a:gd name="T10" fmla="*/ 14 w 106"/>
                <a:gd name="T11" fmla="*/ 16 h 145"/>
                <a:gd name="T12" fmla="*/ 53 w 106"/>
                <a:gd name="T13" fmla="*/ 0 h 145"/>
                <a:gd name="T14" fmla="*/ 91 w 106"/>
                <a:gd name="T15" fmla="*/ 16 h 145"/>
                <a:gd name="T16" fmla="*/ 105 w 106"/>
                <a:gd name="T17" fmla="*/ 72 h 145"/>
                <a:gd name="T18" fmla="*/ 91 w 106"/>
                <a:gd name="T19" fmla="*/ 129 h 145"/>
                <a:gd name="T20" fmla="*/ 71 w 106"/>
                <a:gd name="T21" fmla="*/ 32 h 145"/>
                <a:gd name="T22" fmla="*/ 71 w 106"/>
                <a:gd name="T23" fmla="*/ 32 h 145"/>
                <a:gd name="T24" fmla="*/ 53 w 106"/>
                <a:gd name="T25" fmla="*/ 25 h 145"/>
                <a:gd name="T26" fmla="*/ 35 w 106"/>
                <a:gd name="T27" fmla="*/ 32 h 145"/>
                <a:gd name="T28" fmla="*/ 28 w 106"/>
                <a:gd name="T29" fmla="*/ 72 h 145"/>
                <a:gd name="T30" fmla="*/ 35 w 106"/>
                <a:gd name="T31" fmla="*/ 112 h 145"/>
                <a:gd name="T32" fmla="*/ 53 w 106"/>
                <a:gd name="T33" fmla="*/ 120 h 145"/>
                <a:gd name="T34" fmla="*/ 71 w 106"/>
                <a:gd name="T35" fmla="*/ 112 h 145"/>
                <a:gd name="T36" fmla="*/ 78 w 106"/>
                <a:gd name="T37" fmla="*/ 72 h 145"/>
                <a:gd name="T38" fmla="*/ 71 w 106"/>
                <a:gd name="T39" fmla="*/ 32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6" h="145">
                  <a:moveTo>
                    <a:pt x="91" y="129"/>
                  </a:moveTo>
                  <a:lnTo>
                    <a:pt x="91" y="129"/>
                  </a:lnTo>
                  <a:cubicBezTo>
                    <a:pt x="81" y="139"/>
                    <a:pt x="69" y="145"/>
                    <a:pt x="53" y="145"/>
                  </a:cubicBezTo>
                  <a:cubicBezTo>
                    <a:pt x="37" y="145"/>
                    <a:pt x="24" y="139"/>
                    <a:pt x="14" y="129"/>
                  </a:cubicBezTo>
                  <a:cubicBezTo>
                    <a:pt x="0" y="115"/>
                    <a:pt x="0" y="97"/>
                    <a:pt x="0" y="72"/>
                  </a:cubicBezTo>
                  <a:cubicBezTo>
                    <a:pt x="0" y="48"/>
                    <a:pt x="0" y="30"/>
                    <a:pt x="14" y="16"/>
                  </a:cubicBezTo>
                  <a:cubicBezTo>
                    <a:pt x="24" y="6"/>
                    <a:pt x="37" y="0"/>
                    <a:pt x="53" y="0"/>
                  </a:cubicBezTo>
                  <a:cubicBezTo>
                    <a:pt x="69" y="0"/>
                    <a:pt x="81" y="6"/>
                    <a:pt x="91" y="16"/>
                  </a:cubicBezTo>
                  <a:cubicBezTo>
                    <a:pt x="106" y="30"/>
                    <a:pt x="105" y="48"/>
                    <a:pt x="105" y="72"/>
                  </a:cubicBezTo>
                  <a:cubicBezTo>
                    <a:pt x="105" y="97"/>
                    <a:pt x="106" y="115"/>
                    <a:pt x="91" y="129"/>
                  </a:cubicBezTo>
                  <a:close/>
                  <a:moveTo>
                    <a:pt x="71" y="32"/>
                  </a:moveTo>
                  <a:lnTo>
                    <a:pt x="71" y="32"/>
                  </a:lnTo>
                  <a:cubicBezTo>
                    <a:pt x="67" y="28"/>
                    <a:pt x="60" y="25"/>
                    <a:pt x="53" y="25"/>
                  </a:cubicBezTo>
                  <a:cubicBezTo>
                    <a:pt x="45" y="25"/>
                    <a:pt x="39" y="28"/>
                    <a:pt x="35" y="32"/>
                  </a:cubicBezTo>
                  <a:cubicBezTo>
                    <a:pt x="29" y="38"/>
                    <a:pt x="28" y="45"/>
                    <a:pt x="28" y="72"/>
                  </a:cubicBezTo>
                  <a:cubicBezTo>
                    <a:pt x="28" y="100"/>
                    <a:pt x="29" y="106"/>
                    <a:pt x="35" y="112"/>
                  </a:cubicBezTo>
                  <a:cubicBezTo>
                    <a:pt x="39" y="117"/>
                    <a:pt x="45" y="120"/>
                    <a:pt x="53" y="120"/>
                  </a:cubicBezTo>
                  <a:cubicBezTo>
                    <a:pt x="60" y="120"/>
                    <a:pt x="67" y="117"/>
                    <a:pt x="71" y="112"/>
                  </a:cubicBezTo>
                  <a:cubicBezTo>
                    <a:pt x="76" y="106"/>
                    <a:pt x="78" y="100"/>
                    <a:pt x="78" y="72"/>
                  </a:cubicBezTo>
                  <a:cubicBezTo>
                    <a:pt x="78" y="45"/>
                    <a:pt x="76" y="38"/>
                    <a:pt x="71" y="3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3" name="Freeform 53"/>
            <p:cNvSpPr>
              <a:spLocks/>
            </p:cNvSpPr>
            <p:nvPr/>
          </p:nvSpPr>
          <p:spPr bwMode="auto">
            <a:xfrm>
              <a:off x="8921750" y="-496888"/>
              <a:ext cx="93663" cy="130175"/>
            </a:xfrm>
            <a:custGeom>
              <a:avLst/>
              <a:gdLst>
                <a:gd name="T0" fmla="*/ 52 w 105"/>
                <a:gd name="T1" fmla="*/ 145 h 145"/>
                <a:gd name="T2" fmla="*/ 52 w 105"/>
                <a:gd name="T3" fmla="*/ 145 h 145"/>
                <a:gd name="T4" fmla="*/ 0 w 105"/>
                <a:gd name="T5" fmla="*/ 126 h 145"/>
                <a:gd name="T6" fmla="*/ 18 w 105"/>
                <a:gd name="T7" fmla="*/ 108 h 145"/>
                <a:gd name="T8" fmla="*/ 53 w 105"/>
                <a:gd name="T9" fmla="*/ 120 h 145"/>
                <a:gd name="T10" fmla="*/ 78 w 105"/>
                <a:gd name="T11" fmla="*/ 102 h 145"/>
                <a:gd name="T12" fmla="*/ 74 w 105"/>
                <a:gd name="T13" fmla="*/ 90 h 145"/>
                <a:gd name="T14" fmla="*/ 61 w 105"/>
                <a:gd name="T15" fmla="*/ 85 h 145"/>
                <a:gd name="T16" fmla="*/ 44 w 105"/>
                <a:gd name="T17" fmla="*/ 83 h 145"/>
                <a:gd name="T18" fmla="*/ 16 w 105"/>
                <a:gd name="T19" fmla="*/ 71 h 145"/>
                <a:gd name="T20" fmla="*/ 6 w 105"/>
                <a:gd name="T21" fmla="*/ 43 h 145"/>
                <a:gd name="T22" fmla="*/ 56 w 105"/>
                <a:gd name="T23" fmla="*/ 0 h 145"/>
                <a:gd name="T24" fmla="*/ 102 w 105"/>
                <a:gd name="T25" fmla="*/ 17 h 145"/>
                <a:gd name="T26" fmla="*/ 84 w 105"/>
                <a:gd name="T27" fmla="*/ 34 h 145"/>
                <a:gd name="T28" fmla="*/ 55 w 105"/>
                <a:gd name="T29" fmla="*/ 24 h 145"/>
                <a:gd name="T30" fmla="*/ 33 w 105"/>
                <a:gd name="T31" fmla="*/ 42 h 145"/>
                <a:gd name="T32" fmla="*/ 37 w 105"/>
                <a:gd name="T33" fmla="*/ 52 h 145"/>
                <a:gd name="T34" fmla="*/ 50 w 105"/>
                <a:gd name="T35" fmla="*/ 58 h 145"/>
                <a:gd name="T36" fmla="*/ 67 w 105"/>
                <a:gd name="T37" fmla="*/ 60 h 145"/>
                <a:gd name="T38" fmla="*/ 94 w 105"/>
                <a:gd name="T39" fmla="*/ 71 h 145"/>
                <a:gd name="T40" fmla="*/ 105 w 105"/>
                <a:gd name="T41" fmla="*/ 102 h 145"/>
                <a:gd name="T42" fmla="*/ 52 w 105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5" h="145">
                  <a:moveTo>
                    <a:pt x="52" y="145"/>
                  </a:moveTo>
                  <a:lnTo>
                    <a:pt x="52" y="145"/>
                  </a:lnTo>
                  <a:cubicBezTo>
                    <a:pt x="31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40" y="120"/>
                    <a:pt x="53" y="120"/>
                  </a:cubicBezTo>
                  <a:cubicBezTo>
                    <a:pt x="69" y="120"/>
                    <a:pt x="78" y="114"/>
                    <a:pt x="78" y="102"/>
                  </a:cubicBezTo>
                  <a:cubicBezTo>
                    <a:pt x="78" y="97"/>
                    <a:pt x="77" y="93"/>
                    <a:pt x="74" y="90"/>
                  </a:cubicBezTo>
                  <a:cubicBezTo>
                    <a:pt x="71" y="88"/>
                    <a:pt x="68" y="86"/>
                    <a:pt x="61" y="85"/>
                  </a:cubicBezTo>
                  <a:lnTo>
                    <a:pt x="44" y="83"/>
                  </a:lnTo>
                  <a:cubicBezTo>
                    <a:pt x="32" y="81"/>
                    <a:pt x="23" y="77"/>
                    <a:pt x="16" y="71"/>
                  </a:cubicBezTo>
                  <a:cubicBezTo>
                    <a:pt x="9" y="65"/>
                    <a:pt x="6" y="55"/>
                    <a:pt x="6" y="43"/>
                  </a:cubicBezTo>
                  <a:cubicBezTo>
                    <a:pt x="6" y="18"/>
                    <a:pt x="25" y="0"/>
                    <a:pt x="56" y="0"/>
                  </a:cubicBezTo>
                  <a:cubicBezTo>
                    <a:pt x="75" y="0"/>
                    <a:pt x="89" y="5"/>
                    <a:pt x="102" y="17"/>
                  </a:cubicBezTo>
                  <a:lnTo>
                    <a:pt x="84" y="34"/>
                  </a:lnTo>
                  <a:cubicBezTo>
                    <a:pt x="75" y="26"/>
                    <a:pt x="64" y="24"/>
                    <a:pt x="55" y="24"/>
                  </a:cubicBezTo>
                  <a:cubicBezTo>
                    <a:pt x="40" y="24"/>
                    <a:pt x="33" y="32"/>
                    <a:pt x="33" y="42"/>
                  </a:cubicBezTo>
                  <a:cubicBezTo>
                    <a:pt x="33" y="46"/>
                    <a:pt x="34" y="50"/>
                    <a:pt x="37" y="52"/>
                  </a:cubicBezTo>
                  <a:cubicBezTo>
                    <a:pt x="40" y="55"/>
                    <a:pt x="44" y="57"/>
                    <a:pt x="50" y="58"/>
                  </a:cubicBezTo>
                  <a:lnTo>
                    <a:pt x="67" y="60"/>
                  </a:lnTo>
                  <a:cubicBezTo>
                    <a:pt x="80" y="62"/>
                    <a:pt x="88" y="66"/>
                    <a:pt x="94" y="71"/>
                  </a:cubicBezTo>
                  <a:cubicBezTo>
                    <a:pt x="102" y="79"/>
                    <a:pt x="105" y="89"/>
                    <a:pt x="105" y="102"/>
                  </a:cubicBezTo>
                  <a:cubicBezTo>
                    <a:pt x="105" y="129"/>
                    <a:pt x="82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4" name="Freeform 54"/>
            <p:cNvSpPr>
              <a:spLocks noEditPoints="1"/>
            </p:cNvSpPr>
            <p:nvPr/>
          </p:nvSpPr>
          <p:spPr bwMode="auto">
            <a:xfrm>
              <a:off x="9024938" y="-495301"/>
              <a:ext cx="112713" cy="128588"/>
            </a:xfrm>
            <a:custGeom>
              <a:avLst/>
              <a:gdLst>
                <a:gd name="T0" fmla="*/ 97 w 126"/>
                <a:gd name="T1" fmla="*/ 143 h 143"/>
                <a:gd name="T2" fmla="*/ 97 w 126"/>
                <a:gd name="T3" fmla="*/ 143 h 143"/>
                <a:gd name="T4" fmla="*/ 89 w 126"/>
                <a:gd name="T5" fmla="*/ 117 h 143"/>
                <a:gd name="T6" fmla="*/ 38 w 126"/>
                <a:gd name="T7" fmla="*/ 117 h 143"/>
                <a:gd name="T8" fmla="*/ 29 w 126"/>
                <a:gd name="T9" fmla="*/ 143 h 143"/>
                <a:gd name="T10" fmla="*/ 0 w 126"/>
                <a:gd name="T11" fmla="*/ 143 h 143"/>
                <a:gd name="T12" fmla="*/ 52 w 126"/>
                <a:gd name="T13" fmla="*/ 0 h 143"/>
                <a:gd name="T14" fmla="*/ 74 w 126"/>
                <a:gd name="T15" fmla="*/ 0 h 143"/>
                <a:gd name="T16" fmla="*/ 126 w 126"/>
                <a:gd name="T17" fmla="*/ 143 h 143"/>
                <a:gd name="T18" fmla="*/ 97 w 126"/>
                <a:gd name="T19" fmla="*/ 143 h 143"/>
                <a:gd name="T20" fmla="*/ 64 w 126"/>
                <a:gd name="T21" fmla="*/ 42 h 143"/>
                <a:gd name="T22" fmla="*/ 64 w 126"/>
                <a:gd name="T23" fmla="*/ 42 h 143"/>
                <a:gd name="T24" fmla="*/ 46 w 126"/>
                <a:gd name="T25" fmla="*/ 94 h 143"/>
                <a:gd name="T26" fmla="*/ 81 w 126"/>
                <a:gd name="T27" fmla="*/ 94 h 143"/>
                <a:gd name="T28" fmla="*/ 64 w 126"/>
                <a:gd name="T29" fmla="*/ 4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6" h="143">
                  <a:moveTo>
                    <a:pt x="97" y="143"/>
                  </a:moveTo>
                  <a:lnTo>
                    <a:pt x="97" y="143"/>
                  </a:lnTo>
                  <a:lnTo>
                    <a:pt x="89" y="117"/>
                  </a:lnTo>
                  <a:lnTo>
                    <a:pt x="38" y="117"/>
                  </a:lnTo>
                  <a:lnTo>
                    <a:pt x="29" y="143"/>
                  </a:lnTo>
                  <a:lnTo>
                    <a:pt x="0" y="143"/>
                  </a:lnTo>
                  <a:lnTo>
                    <a:pt x="52" y="0"/>
                  </a:lnTo>
                  <a:lnTo>
                    <a:pt x="74" y="0"/>
                  </a:lnTo>
                  <a:lnTo>
                    <a:pt x="126" y="143"/>
                  </a:lnTo>
                  <a:lnTo>
                    <a:pt x="97" y="143"/>
                  </a:lnTo>
                  <a:close/>
                  <a:moveTo>
                    <a:pt x="64" y="42"/>
                  </a:moveTo>
                  <a:lnTo>
                    <a:pt x="64" y="42"/>
                  </a:lnTo>
                  <a:lnTo>
                    <a:pt x="46" y="94"/>
                  </a:lnTo>
                  <a:lnTo>
                    <a:pt x="81" y="94"/>
                  </a:lnTo>
                  <a:lnTo>
                    <a:pt x="64" y="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5" name="Freeform 55"/>
            <p:cNvSpPr>
              <a:spLocks/>
            </p:cNvSpPr>
            <p:nvPr/>
          </p:nvSpPr>
          <p:spPr bwMode="auto">
            <a:xfrm>
              <a:off x="9155113" y="-495301"/>
              <a:ext cx="82550" cy="128588"/>
            </a:xfrm>
            <a:custGeom>
              <a:avLst/>
              <a:gdLst>
                <a:gd name="T0" fmla="*/ 0 w 92"/>
                <a:gd name="T1" fmla="*/ 0 h 143"/>
                <a:gd name="T2" fmla="*/ 0 w 92"/>
                <a:gd name="T3" fmla="*/ 0 h 143"/>
                <a:gd name="T4" fmla="*/ 0 w 92"/>
                <a:gd name="T5" fmla="*/ 143 h 143"/>
                <a:gd name="T6" fmla="*/ 92 w 92"/>
                <a:gd name="T7" fmla="*/ 143 h 143"/>
                <a:gd name="T8" fmla="*/ 92 w 92"/>
                <a:gd name="T9" fmla="*/ 118 h 143"/>
                <a:gd name="T10" fmla="*/ 28 w 92"/>
                <a:gd name="T11" fmla="*/ 118 h 143"/>
                <a:gd name="T12" fmla="*/ 28 w 92"/>
                <a:gd name="T13" fmla="*/ 0 h 143"/>
                <a:gd name="T14" fmla="*/ 0 w 92"/>
                <a:gd name="T1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143">
                  <a:moveTo>
                    <a:pt x="0" y="0"/>
                  </a:moveTo>
                  <a:lnTo>
                    <a:pt x="0" y="0"/>
                  </a:lnTo>
                  <a:lnTo>
                    <a:pt x="0" y="143"/>
                  </a:lnTo>
                  <a:lnTo>
                    <a:pt x="92" y="143"/>
                  </a:lnTo>
                  <a:lnTo>
                    <a:pt x="92" y="118"/>
                  </a:lnTo>
                  <a:lnTo>
                    <a:pt x="28" y="118"/>
                  </a:lnTo>
                  <a:lnTo>
                    <a:pt x="2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55" name="Reuse/Disposal"/>
          <p:cNvGrpSpPr/>
          <p:nvPr/>
        </p:nvGrpSpPr>
        <p:grpSpPr>
          <a:xfrm>
            <a:off x="7479799" y="3526618"/>
            <a:ext cx="1170319" cy="125437"/>
            <a:chOff x="7800975" y="-508001"/>
            <a:chExt cx="1436688" cy="153988"/>
          </a:xfrm>
          <a:solidFill>
            <a:schemeClr val="accent3">
              <a:lumMod val="75000"/>
            </a:schemeClr>
          </a:solidFill>
        </p:grpSpPr>
        <p:sp>
          <p:nvSpPr>
            <p:cNvPr id="158" name="Freeform 42"/>
            <p:cNvSpPr>
              <a:spLocks noEditPoints="1"/>
            </p:cNvSpPr>
            <p:nvPr/>
          </p:nvSpPr>
          <p:spPr bwMode="auto">
            <a:xfrm>
              <a:off x="7800975" y="-495301"/>
              <a:ext cx="95250" cy="128588"/>
            </a:xfrm>
            <a:custGeom>
              <a:avLst/>
              <a:gdLst>
                <a:gd name="T0" fmla="*/ 76 w 108"/>
                <a:gd name="T1" fmla="*/ 143 h 143"/>
                <a:gd name="T2" fmla="*/ 76 w 108"/>
                <a:gd name="T3" fmla="*/ 143 h 143"/>
                <a:gd name="T4" fmla="*/ 48 w 108"/>
                <a:gd name="T5" fmla="*/ 86 h 143"/>
                <a:gd name="T6" fmla="*/ 28 w 108"/>
                <a:gd name="T7" fmla="*/ 86 h 143"/>
                <a:gd name="T8" fmla="*/ 28 w 108"/>
                <a:gd name="T9" fmla="*/ 143 h 143"/>
                <a:gd name="T10" fmla="*/ 0 w 108"/>
                <a:gd name="T11" fmla="*/ 143 h 143"/>
                <a:gd name="T12" fmla="*/ 0 w 108"/>
                <a:gd name="T13" fmla="*/ 0 h 143"/>
                <a:gd name="T14" fmla="*/ 56 w 108"/>
                <a:gd name="T15" fmla="*/ 0 h 143"/>
                <a:gd name="T16" fmla="*/ 102 w 108"/>
                <a:gd name="T17" fmla="*/ 44 h 143"/>
                <a:gd name="T18" fmla="*/ 76 w 108"/>
                <a:gd name="T19" fmla="*/ 81 h 143"/>
                <a:gd name="T20" fmla="*/ 108 w 108"/>
                <a:gd name="T21" fmla="*/ 143 h 143"/>
                <a:gd name="T22" fmla="*/ 76 w 108"/>
                <a:gd name="T23" fmla="*/ 143 h 143"/>
                <a:gd name="T24" fmla="*/ 54 w 108"/>
                <a:gd name="T25" fmla="*/ 25 h 143"/>
                <a:gd name="T26" fmla="*/ 54 w 108"/>
                <a:gd name="T27" fmla="*/ 25 h 143"/>
                <a:gd name="T28" fmla="*/ 28 w 108"/>
                <a:gd name="T29" fmla="*/ 25 h 143"/>
                <a:gd name="T30" fmla="*/ 28 w 108"/>
                <a:gd name="T31" fmla="*/ 63 h 143"/>
                <a:gd name="T32" fmla="*/ 54 w 108"/>
                <a:gd name="T33" fmla="*/ 63 h 143"/>
                <a:gd name="T34" fmla="*/ 74 w 108"/>
                <a:gd name="T35" fmla="*/ 44 h 143"/>
                <a:gd name="T36" fmla="*/ 54 w 108"/>
                <a:gd name="T37" fmla="*/ 2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8" h="143">
                  <a:moveTo>
                    <a:pt x="76" y="143"/>
                  </a:moveTo>
                  <a:lnTo>
                    <a:pt x="76" y="143"/>
                  </a:lnTo>
                  <a:lnTo>
                    <a:pt x="48" y="86"/>
                  </a:lnTo>
                  <a:lnTo>
                    <a:pt x="28" y="86"/>
                  </a:lnTo>
                  <a:lnTo>
                    <a:pt x="28" y="143"/>
                  </a:lnTo>
                  <a:lnTo>
                    <a:pt x="0" y="143"/>
                  </a:lnTo>
                  <a:lnTo>
                    <a:pt x="0" y="0"/>
                  </a:lnTo>
                  <a:lnTo>
                    <a:pt x="56" y="0"/>
                  </a:lnTo>
                  <a:cubicBezTo>
                    <a:pt x="85" y="0"/>
                    <a:pt x="102" y="20"/>
                    <a:pt x="102" y="44"/>
                  </a:cubicBezTo>
                  <a:cubicBezTo>
                    <a:pt x="102" y="64"/>
                    <a:pt x="90" y="76"/>
                    <a:pt x="76" y="81"/>
                  </a:cubicBezTo>
                  <a:lnTo>
                    <a:pt x="108" y="143"/>
                  </a:lnTo>
                  <a:lnTo>
                    <a:pt x="76" y="143"/>
                  </a:lnTo>
                  <a:close/>
                  <a:moveTo>
                    <a:pt x="54" y="25"/>
                  </a:moveTo>
                  <a:lnTo>
                    <a:pt x="54" y="25"/>
                  </a:lnTo>
                  <a:lnTo>
                    <a:pt x="28" y="25"/>
                  </a:lnTo>
                  <a:lnTo>
                    <a:pt x="28" y="63"/>
                  </a:lnTo>
                  <a:lnTo>
                    <a:pt x="54" y="63"/>
                  </a:lnTo>
                  <a:cubicBezTo>
                    <a:pt x="66" y="63"/>
                    <a:pt x="74" y="55"/>
                    <a:pt x="74" y="44"/>
                  </a:cubicBezTo>
                  <a:cubicBezTo>
                    <a:pt x="74" y="33"/>
                    <a:pt x="66" y="25"/>
                    <a:pt x="54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9" name="Freeform 43"/>
            <p:cNvSpPr>
              <a:spLocks/>
            </p:cNvSpPr>
            <p:nvPr/>
          </p:nvSpPr>
          <p:spPr bwMode="auto">
            <a:xfrm>
              <a:off x="7916863" y="-495301"/>
              <a:ext cx="84138" cy="128588"/>
            </a:xfrm>
            <a:custGeom>
              <a:avLst/>
              <a:gdLst>
                <a:gd name="T0" fmla="*/ 0 w 94"/>
                <a:gd name="T1" fmla="*/ 143 h 143"/>
                <a:gd name="T2" fmla="*/ 0 w 94"/>
                <a:gd name="T3" fmla="*/ 143 h 143"/>
                <a:gd name="T4" fmla="*/ 0 w 94"/>
                <a:gd name="T5" fmla="*/ 0 h 143"/>
                <a:gd name="T6" fmla="*/ 94 w 94"/>
                <a:gd name="T7" fmla="*/ 0 h 143"/>
                <a:gd name="T8" fmla="*/ 94 w 94"/>
                <a:gd name="T9" fmla="*/ 25 h 143"/>
                <a:gd name="T10" fmla="*/ 28 w 94"/>
                <a:gd name="T11" fmla="*/ 25 h 143"/>
                <a:gd name="T12" fmla="*/ 28 w 94"/>
                <a:gd name="T13" fmla="*/ 59 h 143"/>
                <a:gd name="T14" fmla="*/ 84 w 94"/>
                <a:gd name="T15" fmla="*/ 59 h 143"/>
                <a:gd name="T16" fmla="*/ 84 w 94"/>
                <a:gd name="T17" fmla="*/ 83 h 143"/>
                <a:gd name="T18" fmla="*/ 28 w 94"/>
                <a:gd name="T19" fmla="*/ 83 h 143"/>
                <a:gd name="T20" fmla="*/ 28 w 94"/>
                <a:gd name="T21" fmla="*/ 118 h 143"/>
                <a:gd name="T22" fmla="*/ 94 w 94"/>
                <a:gd name="T23" fmla="*/ 118 h 143"/>
                <a:gd name="T24" fmla="*/ 94 w 94"/>
                <a:gd name="T25" fmla="*/ 143 h 143"/>
                <a:gd name="T26" fmla="*/ 0 w 94"/>
                <a:gd name="T27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4" h="143">
                  <a:moveTo>
                    <a:pt x="0" y="143"/>
                  </a:moveTo>
                  <a:lnTo>
                    <a:pt x="0" y="14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25"/>
                  </a:lnTo>
                  <a:lnTo>
                    <a:pt x="28" y="25"/>
                  </a:lnTo>
                  <a:lnTo>
                    <a:pt x="28" y="59"/>
                  </a:lnTo>
                  <a:lnTo>
                    <a:pt x="84" y="59"/>
                  </a:lnTo>
                  <a:lnTo>
                    <a:pt x="84" y="83"/>
                  </a:lnTo>
                  <a:lnTo>
                    <a:pt x="28" y="83"/>
                  </a:lnTo>
                  <a:lnTo>
                    <a:pt x="28" y="118"/>
                  </a:lnTo>
                  <a:lnTo>
                    <a:pt x="94" y="118"/>
                  </a:lnTo>
                  <a:lnTo>
                    <a:pt x="94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0" name="Freeform 44"/>
            <p:cNvSpPr>
              <a:spLocks/>
            </p:cNvSpPr>
            <p:nvPr/>
          </p:nvSpPr>
          <p:spPr bwMode="auto">
            <a:xfrm>
              <a:off x="8021638" y="-495301"/>
              <a:ext cx="93663" cy="128588"/>
            </a:xfrm>
            <a:custGeom>
              <a:avLst/>
              <a:gdLst>
                <a:gd name="T0" fmla="*/ 53 w 105"/>
                <a:gd name="T1" fmla="*/ 144 h 144"/>
                <a:gd name="T2" fmla="*/ 53 w 105"/>
                <a:gd name="T3" fmla="*/ 144 h 144"/>
                <a:gd name="T4" fmla="*/ 0 w 105"/>
                <a:gd name="T5" fmla="*/ 94 h 144"/>
                <a:gd name="T6" fmla="*/ 0 w 105"/>
                <a:gd name="T7" fmla="*/ 0 h 144"/>
                <a:gd name="T8" fmla="*/ 28 w 105"/>
                <a:gd name="T9" fmla="*/ 0 h 144"/>
                <a:gd name="T10" fmla="*/ 28 w 105"/>
                <a:gd name="T11" fmla="*/ 93 h 144"/>
                <a:gd name="T12" fmla="*/ 53 w 105"/>
                <a:gd name="T13" fmla="*/ 119 h 144"/>
                <a:gd name="T14" fmla="*/ 77 w 105"/>
                <a:gd name="T15" fmla="*/ 93 h 144"/>
                <a:gd name="T16" fmla="*/ 77 w 105"/>
                <a:gd name="T17" fmla="*/ 0 h 144"/>
                <a:gd name="T18" fmla="*/ 105 w 105"/>
                <a:gd name="T19" fmla="*/ 0 h 144"/>
                <a:gd name="T20" fmla="*/ 105 w 105"/>
                <a:gd name="T21" fmla="*/ 94 h 144"/>
                <a:gd name="T22" fmla="*/ 53 w 105"/>
                <a:gd name="T2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5" h="144">
                  <a:moveTo>
                    <a:pt x="53" y="144"/>
                  </a:moveTo>
                  <a:lnTo>
                    <a:pt x="53" y="144"/>
                  </a:lnTo>
                  <a:cubicBezTo>
                    <a:pt x="23" y="144"/>
                    <a:pt x="0" y="124"/>
                    <a:pt x="0" y="94"/>
                  </a:cubicBezTo>
                  <a:lnTo>
                    <a:pt x="0" y="0"/>
                  </a:lnTo>
                  <a:lnTo>
                    <a:pt x="28" y="0"/>
                  </a:lnTo>
                  <a:lnTo>
                    <a:pt x="28" y="93"/>
                  </a:lnTo>
                  <a:cubicBezTo>
                    <a:pt x="28" y="109"/>
                    <a:pt x="38" y="119"/>
                    <a:pt x="53" y="119"/>
                  </a:cubicBezTo>
                  <a:cubicBezTo>
                    <a:pt x="68" y="119"/>
                    <a:pt x="77" y="109"/>
                    <a:pt x="77" y="93"/>
                  </a:cubicBezTo>
                  <a:lnTo>
                    <a:pt x="77" y="0"/>
                  </a:lnTo>
                  <a:lnTo>
                    <a:pt x="105" y="0"/>
                  </a:lnTo>
                  <a:lnTo>
                    <a:pt x="105" y="94"/>
                  </a:lnTo>
                  <a:cubicBezTo>
                    <a:pt x="105" y="124"/>
                    <a:pt x="82" y="144"/>
                    <a:pt x="53" y="1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1" name="Freeform 45"/>
            <p:cNvSpPr>
              <a:spLocks/>
            </p:cNvSpPr>
            <p:nvPr/>
          </p:nvSpPr>
          <p:spPr bwMode="auto">
            <a:xfrm>
              <a:off x="8131175" y="-496888"/>
              <a:ext cx="92075" cy="130175"/>
            </a:xfrm>
            <a:custGeom>
              <a:avLst/>
              <a:gdLst>
                <a:gd name="T0" fmla="*/ 52 w 104"/>
                <a:gd name="T1" fmla="*/ 145 h 145"/>
                <a:gd name="T2" fmla="*/ 52 w 104"/>
                <a:gd name="T3" fmla="*/ 145 h 145"/>
                <a:gd name="T4" fmla="*/ 0 w 104"/>
                <a:gd name="T5" fmla="*/ 126 h 145"/>
                <a:gd name="T6" fmla="*/ 18 w 104"/>
                <a:gd name="T7" fmla="*/ 108 h 145"/>
                <a:gd name="T8" fmla="*/ 52 w 104"/>
                <a:gd name="T9" fmla="*/ 120 h 145"/>
                <a:gd name="T10" fmla="*/ 77 w 104"/>
                <a:gd name="T11" fmla="*/ 102 h 145"/>
                <a:gd name="T12" fmla="*/ 73 w 104"/>
                <a:gd name="T13" fmla="*/ 90 h 145"/>
                <a:gd name="T14" fmla="*/ 60 w 104"/>
                <a:gd name="T15" fmla="*/ 85 h 145"/>
                <a:gd name="T16" fmla="*/ 43 w 104"/>
                <a:gd name="T17" fmla="*/ 83 h 145"/>
                <a:gd name="T18" fmla="*/ 15 w 104"/>
                <a:gd name="T19" fmla="*/ 71 h 145"/>
                <a:gd name="T20" fmla="*/ 5 w 104"/>
                <a:gd name="T21" fmla="*/ 43 h 145"/>
                <a:gd name="T22" fmla="*/ 55 w 104"/>
                <a:gd name="T23" fmla="*/ 0 h 145"/>
                <a:gd name="T24" fmla="*/ 101 w 104"/>
                <a:gd name="T25" fmla="*/ 17 h 145"/>
                <a:gd name="T26" fmla="*/ 83 w 104"/>
                <a:gd name="T27" fmla="*/ 34 h 145"/>
                <a:gd name="T28" fmla="*/ 54 w 104"/>
                <a:gd name="T29" fmla="*/ 24 h 145"/>
                <a:gd name="T30" fmla="*/ 32 w 104"/>
                <a:gd name="T31" fmla="*/ 42 h 145"/>
                <a:gd name="T32" fmla="*/ 36 w 104"/>
                <a:gd name="T33" fmla="*/ 52 h 145"/>
                <a:gd name="T34" fmla="*/ 49 w 104"/>
                <a:gd name="T35" fmla="*/ 58 h 145"/>
                <a:gd name="T36" fmla="*/ 66 w 104"/>
                <a:gd name="T37" fmla="*/ 60 h 145"/>
                <a:gd name="T38" fmla="*/ 93 w 104"/>
                <a:gd name="T39" fmla="*/ 71 h 145"/>
                <a:gd name="T40" fmla="*/ 104 w 104"/>
                <a:gd name="T41" fmla="*/ 102 h 145"/>
                <a:gd name="T42" fmla="*/ 52 w 104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4" h="145">
                  <a:moveTo>
                    <a:pt x="52" y="145"/>
                  </a:moveTo>
                  <a:lnTo>
                    <a:pt x="52" y="145"/>
                  </a:lnTo>
                  <a:cubicBezTo>
                    <a:pt x="30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39" y="120"/>
                    <a:pt x="52" y="120"/>
                  </a:cubicBezTo>
                  <a:cubicBezTo>
                    <a:pt x="68" y="120"/>
                    <a:pt x="77" y="114"/>
                    <a:pt x="77" y="102"/>
                  </a:cubicBezTo>
                  <a:cubicBezTo>
                    <a:pt x="77" y="97"/>
                    <a:pt x="76" y="93"/>
                    <a:pt x="73" y="90"/>
                  </a:cubicBezTo>
                  <a:cubicBezTo>
                    <a:pt x="70" y="88"/>
                    <a:pt x="67" y="86"/>
                    <a:pt x="60" y="85"/>
                  </a:cubicBezTo>
                  <a:lnTo>
                    <a:pt x="43" y="83"/>
                  </a:lnTo>
                  <a:cubicBezTo>
                    <a:pt x="31" y="81"/>
                    <a:pt x="22" y="77"/>
                    <a:pt x="15" y="71"/>
                  </a:cubicBezTo>
                  <a:cubicBezTo>
                    <a:pt x="9" y="65"/>
                    <a:pt x="5" y="55"/>
                    <a:pt x="5" y="43"/>
                  </a:cubicBezTo>
                  <a:cubicBezTo>
                    <a:pt x="5" y="18"/>
                    <a:pt x="24" y="0"/>
                    <a:pt x="55" y="0"/>
                  </a:cubicBezTo>
                  <a:cubicBezTo>
                    <a:pt x="74" y="0"/>
                    <a:pt x="89" y="5"/>
                    <a:pt x="101" y="17"/>
                  </a:cubicBezTo>
                  <a:lnTo>
                    <a:pt x="83" y="34"/>
                  </a:lnTo>
                  <a:cubicBezTo>
                    <a:pt x="74" y="26"/>
                    <a:pt x="63" y="24"/>
                    <a:pt x="54" y="24"/>
                  </a:cubicBezTo>
                  <a:cubicBezTo>
                    <a:pt x="39" y="24"/>
                    <a:pt x="32" y="32"/>
                    <a:pt x="32" y="42"/>
                  </a:cubicBezTo>
                  <a:cubicBezTo>
                    <a:pt x="32" y="46"/>
                    <a:pt x="33" y="50"/>
                    <a:pt x="36" y="52"/>
                  </a:cubicBezTo>
                  <a:cubicBezTo>
                    <a:pt x="39" y="55"/>
                    <a:pt x="44" y="57"/>
                    <a:pt x="49" y="58"/>
                  </a:cubicBezTo>
                  <a:lnTo>
                    <a:pt x="66" y="60"/>
                  </a:lnTo>
                  <a:cubicBezTo>
                    <a:pt x="79" y="62"/>
                    <a:pt x="87" y="66"/>
                    <a:pt x="93" y="71"/>
                  </a:cubicBezTo>
                  <a:cubicBezTo>
                    <a:pt x="101" y="79"/>
                    <a:pt x="104" y="89"/>
                    <a:pt x="104" y="102"/>
                  </a:cubicBezTo>
                  <a:cubicBezTo>
                    <a:pt x="104" y="129"/>
                    <a:pt x="81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2" name="Freeform 46"/>
            <p:cNvSpPr>
              <a:spLocks/>
            </p:cNvSpPr>
            <p:nvPr/>
          </p:nvSpPr>
          <p:spPr bwMode="auto">
            <a:xfrm>
              <a:off x="8245475" y="-495301"/>
              <a:ext cx="84138" cy="128588"/>
            </a:xfrm>
            <a:custGeom>
              <a:avLst/>
              <a:gdLst>
                <a:gd name="T0" fmla="*/ 0 w 93"/>
                <a:gd name="T1" fmla="*/ 143 h 143"/>
                <a:gd name="T2" fmla="*/ 0 w 93"/>
                <a:gd name="T3" fmla="*/ 143 h 143"/>
                <a:gd name="T4" fmla="*/ 0 w 93"/>
                <a:gd name="T5" fmla="*/ 0 h 143"/>
                <a:gd name="T6" fmla="*/ 93 w 93"/>
                <a:gd name="T7" fmla="*/ 0 h 143"/>
                <a:gd name="T8" fmla="*/ 93 w 93"/>
                <a:gd name="T9" fmla="*/ 25 h 143"/>
                <a:gd name="T10" fmla="*/ 27 w 93"/>
                <a:gd name="T11" fmla="*/ 25 h 143"/>
                <a:gd name="T12" fmla="*/ 27 w 93"/>
                <a:gd name="T13" fmla="*/ 59 h 143"/>
                <a:gd name="T14" fmla="*/ 84 w 93"/>
                <a:gd name="T15" fmla="*/ 59 h 143"/>
                <a:gd name="T16" fmla="*/ 84 w 93"/>
                <a:gd name="T17" fmla="*/ 83 h 143"/>
                <a:gd name="T18" fmla="*/ 27 w 93"/>
                <a:gd name="T19" fmla="*/ 83 h 143"/>
                <a:gd name="T20" fmla="*/ 27 w 93"/>
                <a:gd name="T21" fmla="*/ 118 h 143"/>
                <a:gd name="T22" fmla="*/ 93 w 93"/>
                <a:gd name="T23" fmla="*/ 118 h 143"/>
                <a:gd name="T24" fmla="*/ 93 w 93"/>
                <a:gd name="T25" fmla="*/ 143 h 143"/>
                <a:gd name="T26" fmla="*/ 0 w 93"/>
                <a:gd name="T27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3" h="143">
                  <a:moveTo>
                    <a:pt x="0" y="143"/>
                  </a:moveTo>
                  <a:lnTo>
                    <a:pt x="0" y="143"/>
                  </a:lnTo>
                  <a:lnTo>
                    <a:pt x="0" y="0"/>
                  </a:lnTo>
                  <a:lnTo>
                    <a:pt x="93" y="0"/>
                  </a:lnTo>
                  <a:lnTo>
                    <a:pt x="93" y="25"/>
                  </a:lnTo>
                  <a:lnTo>
                    <a:pt x="27" y="25"/>
                  </a:lnTo>
                  <a:lnTo>
                    <a:pt x="27" y="59"/>
                  </a:lnTo>
                  <a:lnTo>
                    <a:pt x="84" y="59"/>
                  </a:lnTo>
                  <a:lnTo>
                    <a:pt x="84" y="83"/>
                  </a:lnTo>
                  <a:lnTo>
                    <a:pt x="27" y="83"/>
                  </a:lnTo>
                  <a:lnTo>
                    <a:pt x="27" y="118"/>
                  </a:lnTo>
                  <a:lnTo>
                    <a:pt x="93" y="118"/>
                  </a:lnTo>
                  <a:lnTo>
                    <a:pt x="93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3" name="Freeform 47"/>
            <p:cNvSpPr>
              <a:spLocks/>
            </p:cNvSpPr>
            <p:nvPr/>
          </p:nvSpPr>
          <p:spPr bwMode="auto">
            <a:xfrm>
              <a:off x="8342313" y="-508001"/>
              <a:ext cx="71438" cy="153988"/>
            </a:xfrm>
            <a:custGeom>
              <a:avLst/>
              <a:gdLst>
                <a:gd name="T0" fmla="*/ 57 w 81"/>
                <a:gd name="T1" fmla="*/ 0 h 172"/>
                <a:gd name="T2" fmla="*/ 57 w 81"/>
                <a:gd name="T3" fmla="*/ 0 h 172"/>
                <a:gd name="T4" fmla="*/ 0 w 81"/>
                <a:gd name="T5" fmla="*/ 172 h 172"/>
                <a:gd name="T6" fmla="*/ 24 w 81"/>
                <a:gd name="T7" fmla="*/ 172 h 172"/>
                <a:gd name="T8" fmla="*/ 81 w 81"/>
                <a:gd name="T9" fmla="*/ 0 h 172"/>
                <a:gd name="T10" fmla="*/ 57 w 81"/>
                <a:gd name="T11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172">
                  <a:moveTo>
                    <a:pt x="57" y="0"/>
                  </a:moveTo>
                  <a:lnTo>
                    <a:pt x="57" y="0"/>
                  </a:lnTo>
                  <a:lnTo>
                    <a:pt x="0" y="172"/>
                  </a:lnTo>
                  <a:lnTo>
                    <a:pt x="24" y="172"/>
                  </a:lnTo>
                  <a:lnTo>
                    <a:pt x="81" y="0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4" name="Freeform 48"/>
            <p:cNvSpPr>
              <a:spLocks noEditPoints="1"/>
            </p:cNvSpPr>
            <p:nvPr/>
          </p:nvSpPr>
          <p:spPr bwMode="auto">
            <a:xfrm>
              <a:off x="8429625" y="-495301"/>
              <a:ext cx="93663" cy="128588"/>
            </a:xfrm>
            <a:custGeom>
              <a:avLst/>
              <a:gdLst>
                <a:gd name="T0" fmla="*/ 89 w 105"/>
                <a:gd name="T1" fmla="*/ 129 h 143"/>
                <a:gd name="T2" fmla="*/ 89 w 105"/>
                <a:gd name="T3" fmla="*/ 129 h 143"/>
                <a:gd name="T4" fmla="*/ 51 w 105"/>
                <a:gd name="T5" fmla="*/ 143 h 143"/>
                <a:gd name="T6" fmla="*/ 0 w 105"/>
                <a:gd name="T7" fmla="*/ 143 h 143"/>
                <a:gd name="T8" fmla="*/ 0 w 105"/>
                <a:gd name="T9" fmla="*/ 0 h 143"/>
                <a:gd name="T10" fmla="*/ 51 w 105"/>
                <a:gd name="T11" fmla="*/ 0 h 143"/>
                <a:gd name="T12" fmla="*/ 89 w 105"/>
                <a:gd name="T13" fmla="*/ 14 h 143"/>
                <a:gd name="T14" fmla="*/ 103 w 105"/>
                <a:gd name="T15" fmla="*/ 71 h 143"/>
                <a:gd name="T16" fmla="*/ 89 w 105"/>
                <a:gd name="T17" fmla="*/ 129 h 143"/>
                <a:gd name="T18" fmla="*/ 69 w 105"/>
                <a:gd name="T19" fmla="*/ 34 h 143"/>
                <a:gd name="T20" fmla="*/ 69 w 105"/>
                <a:gd name="T21" fmla="*/ 34 h 143"/>
                <a:gd name="T22" fmla="*/ 48 w 105"/>
                <a:gd name="T23" fmla="*/ 25 h 143"/>
                <a:gd name="T24" fmla="*/ 27 w 105"/>
                <a:gd name="T25" fmla="*/ 25 h 143"/>
                <a:gd name="T26" fmla="*/ 27 w 105"/>
                <a:gd name="T27" fmla="*/ 118 h 143"/>
                <a:gd name="T28" fmla="*/ 48 w 105"/>
                <a:gd name="T29" fmla="*/ 118 h 143"/>
                <a:gd name="T30" fmla="*/ 69 w 105"/>
                <a:gd name="T31" fmla="*/ 109 h 143"/>
                <a:gd name="T32" fmla="*/ 75 w 105"/>
                <a:gd name="T33" fmla="*/ 71 h 143"/>
                <a:gd name="T34" fmla="*/ 69 w 105"/>
                <a:gd name="T35" fmla="*/ 3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" h="143">
                  <a:moveTo>
                    <a:pt x="89" y="129"/>
                  </a:moveTo>
                  <a:lnTo>
                    <a:pt x="89" y="129"/>
                  </a:lnTo>
                  <a:cubicBezTo>
                    <a:pt x="79" y="138"/>
                    <a:pt x="66" y="143"/>
                    <a:pt x="51" y="143"/>
                  </a:cubicBezTo>
                  <a:lnTo>
                    <a:pt x="0" y="143"/>
                  </a:lnTo>
                  <a:lnTo>
                    <a:pt x="0" y="0"/>
                  </a:lnTo>
                  <a:lnTo>
                    <a:pt x="51" y="0"/>
                  </a:lnTo>
                  <a:cubicBezTo>
                    <a:pt x="66" y="0"/>
                    <a:pt x="79" y="5"/>
                    <a:pt x="89" y="14"/>
                  </a:cubicBezTo>
                  <a:cubicBezTo>
                    <a:pt x="105" y="30"/>
                    <a:pt x="103" y="50"/>
                    <a:pt x="103" y="71"/>
                  </a:cubicBezTo>
                  <a:cubicBezTo>
                    <a:pt x="103" y="92"/>
                    <a:pt x="105" y="113"/>
                    <a:pt x="89" y="129"/>
                  </a:cubicBezTo>
                  <a:close/>
                  <a:moveTo>
                    <a:pt x="69" y="34"/>
                  </a:moveTo>
                  <a:lnTo>
                    <a:pt x="69" y="34"/>
                  </a:lnTo>
                  <a:cubicBezTo>
                    <a:pt x="64" y="28"/>
                    <a:pt x="58" y="25"/>
                    <a:pt x="48" y="25"/>
                  </a:cubicBezTo>
                  <a:lnTo>
                    <a:pt x="27" y="25"/>
                  </a:lnTo>
                  <a:lnTo>
                    <a:pt x="27" y="118"/>
                  </a:lnTo>
                  <a:lnTo>
                    <a:pt x="48" y="118"/>
                  </a:lnTo>
                  <a:cubicBezTo>
                    <a:pt x="58" y="118"/>
                    <a:pt x="64" y="115"/>
                    <a:pt x="69" y="109"/>
                  </a:cubicBezTo>
                  <a:cubicBezTo>
                    <a:pt x="74" y="103"/>
                    <a:pt x="75" y="93"/>
                    <a:pt x="75" y="71"/>
                  </a:cubicBezTo>
                  <a:cubicBezTo>
                    <a:pt x="75" y="49"/>
                    <a:pt x="74" y="40"/>
                    <a:pt x="69" y="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5" name="Freeform 49"/>
            <p:cNvSpPr>
              <a:spLocks/>
            </p:cNvSpPr>
            <p:nvPr/>
          </p:nvSpPr>
          <p:spPr bwMode="auto">
            <a:xfrm>
              <a:off x="8545513" y="-495301"/>
              <a:ext cx="25400" cy="128588"/>
            </a:xfrm>
            <a:custGeom>
              <a:avLst/>
              <a:gdLst>
                <a:gd name="T0" fmla="*/ 0 w 27"/>
                <a:gd name="T1" fmla="*/ 0 h 143"/>
                <a:gd name="T2" fmla="*/ 0 w 27"/>
                <a:gd name="T3" fmla="*/ 0 h 143"/>
                <a:gd name="T4" fmla="*/ 27 w 27"/>
                <a:gd name="T5" fmla="*/ 0 h 143"/>
                <a:gd name="T6" fmla="*/ 27 w 27"/>
                <a:gd name="T7" fmla="*/ 143 h 143"/>
                <a:gd name="T8" fmla="*/ 0 w 27"/>
                <a:gd name="T9" fmla="*/ 143 h 143"/>
                <a:gd name="T10" fmla="*/ 0 w 27"/>
                <a:gd name="T11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143">
                  <a:moveTo>
                    <a:pt x="0" y="0"/>
                  </a:moveTo>
                  <a:lnTo>
                    <a:pt x="0" y="0"/>
                  </a:lnTo>
                  <a:lnTo>
                    <a:pt x="27" y="0"/>
                  </a:lnTo>
                  <a:lnTo>
                    <a:pt x="27" y="143"/>
                  </a:lnTo>
                  <a:lnTo>
                    <a:pt x="0" y="14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6" name="Freeform 50"/>
            <p:cNvSpPr>
              <a:spLocks/>
            </p:cNvSpPr>
            <p:nvPr/>
          </p:nvSpPr>
          <p:spPr bwMode="auto">
            <a:xfrm>
              <a:off x="8589963" y="-496888"/>
              <a:ext cx="92075" cy="130175"/>
            </a:xfrm>
            <a:custGeom>
              <a:avLst/>
              <a:gdLst>
                <a:gd name="T0" fmla="*/ 52 w 104"/>
                <a:gd name="T1" fmla="*/ 145 h 145"/>
                <a:gd name="T2" fmla="*/ 52 w 104"/>
                <a:gd name="T3" fmla="*/ 145 h 145"/>
                <a:gd name="T4" fmla="*/ 0 w 104"/>
                <a:gd name="T5" fmla="*/ 126 h 145"/>
                <a:gd name="T6" fmla="*/ 18 w 104"/>
                <a:gd name="T7" fmla="*/ 108 h 145"/>
                <a:gd name="T8" fmla="*/ 52 w 104"/>
                <a:gd name="T9" fmla="*/ 120 h 145"/>
                <a:gd name="T10" fmla="*/ 77 w 104"/>
                <a:gd name="T11" fmla="*/ 102 h 145"/>
                <a:gd name="T12" fmla="*/ 73 w 104"/>
                <a:gd name="T13" fmla="*/ 90 h 145"/>
                <a:gd name="T14" fmla="*/ 60 w 104"/>
                <a:gd name="T15" fmla="*/ 85 h 145"/>
                <a:gd name="T16" fmla="*/ 43 w 104"/>
                <a:gd name="T17" fmla="*/ 83 h 145"/>
                <a:gd name="T18" fmla="*/ 15 w 104"/>
                <a:gd name="T19" fmla="*/ 71 h 145"/>
                <a:gd name="T20" fmla="*/ 5 w 104"/>
                <a:gd name="T21" fmla="*/ 43 h 145"/>
                <a:gd name="T22" fmla="*/ 55 w 104"/>
                <a:gd name="T23" fmla="*/ 0 h 145"/>
                <a:gd name="T24" fmla="*/ 101 w 104"/>
                <a:gd name="T25" fmla="*/ 17 h 145"/>
                <a:gd name="T26" fmla="*/ 83 w 104"/>
                <a:gd name="T27" fmla="*/ 34 h 145"/>
                <a:gd name="T28" fmla="*/ 54 w 104"/>
                <a:gd name="T29" fmla="*/ 24 h 145"/>
                <a:gd name="T30" fmla="*/ 32 w 104"/>
                <a:gd name="T31" fmla="*/ 42 h 145"/>
                <a:gd name="T32" fmla="*/ 36 w 104"/>
                <a:gd name="T33" fmla="*/ 52 h 145"/>
                <a:gd name="T34" fmla="*/ 49 w 104"/>
                <a:gd name="T35" fmla="*/ 58 h 145"/>
                <a:gd name="T36" fmla="*/ 66 w 104"/>
                <a:gd name="T37" fmla="*/ 60 h 145"/>
                <a:gd name="T38" fmla="*/ 93 w 104"/>
                <a:gd name="T39" fmla="*/ 71 h 145"/>
                <a:gd name="T40" fmla="*/ 104 w 104"/>
                <a:gd name="T41" fmla="*/ 102 h 145"/>
                <a:gd name="T42" fmla="*/ 52 w 104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4" h="145">
                  <a:moveTo>
                    <a:pt x="52" y="145"/>
                  </a:moveTo>
                  <a:lnTo>
                    <a:pt x="52" y="145"/>
                  </a:lnTo>
                  <a:cubicBezTo>
                    <a:pt x="30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39" y="120"/>
                    <a:pt x="52" y="120"/>
                  </a:cubicBezTo>
                  <a:cubicBezTo>
                    <a:pt x="68" y="120"/>
                    <a:pt x="77" y="114"/>
                    <a:pt x="77" y="102"/>
                  </a:cubicBezTo>
                  <a:cubicBezTo>
                    <a:pt x="77" y="97"/>
                    <a:pt x="76" y="93"/>
                    <a:pt x="73" y="90"/>
                  </a:cubicBezTo>
                  <a:cubicBezTo>
                    <a:pt x="70" y="88"/>
                    <a:pt x="67" y="86"/>
                    <a:pt x="60" y="85"/>
                  </a:cubicBezTo>
                  <a:lnTo>
                    <a:pt x="43" y="83"/>
                  </a:lnTo>
                  <a:cubicBezTo>
                    <a:pt x="31" y="81"/>
                    <a:pt x="22" y="77"/>
                    <a:pt x="15" y="71"/>
                  </a:cubicBezTo>
                  <a:cubicBezTo>
                    <a:pt x="9" y="65"/>
                    <a:pt x="5" y="55"/>
                    <a:pt x="5" y="43"/>
                  </a:cubicBezTo>
                  <a:cubicBezTo>
                    <a:pt x="5" y="18"/>
                    <a:pt x="24" y="0"/>
                    <a:pt x="55" y="0"/>
                  </a:cubicBezTo>
                  <a:cubicBezTo>
                    <a:pt x="74" y="0"/>
                    <a:pt x="89" y="5"/>
                    <a:pt x="101" y="17"/>
                  </a:cubicBezTo>
                  <a:lnTo>
                    <a:pt x="83" y="34"/>
                  </a:lnTo>
                  <a:cubicBezTo>
                    <a:pt x="74" y="26"/>
                    <a:pt x="63" y="24"/>
                    <a:pt x="54" y="24"/>
                  </a:cubicBezTo>
                  <a:cubicBezTo>
                    <a:pt x="39" y="24"/>
                    <a:pt x="32" y="32"/>
                    <a:pt x="32" y="42"/>
                  </a:cubicBezTo>
                  <a:cubicBezTo>
                    <a:pt x="32" y="46"/>
                    <a:pt x="33" y="50"/>
                    <a:pt x="36" y="52"/>
                  </a:cubicBezTo>
                  <a:cubicBezTo>
                    <a:pt x="39" y="55"/>
                    <a:pt x="44" y="57"/>
                    <a:pt x="49" y="58"/>
                  </a:cubicBezTo>
                  <a:lnTo>
                    <a:pt x="66" y="60"/>
                  </a:lnTo>
                  <a:cubicBezTo>
                    <a:pt x="79" y="62"/>
                    <a:pt x="87" y="66"/>
                    <a:pt x="93" y="71"/>
                  </a:cubicBezTo>
                  <a:cubicBezTo>
                    <a:pt x="101" y="79"/>
                    <a:pt x="104" y="89"/>
                    <a:pt x="104" y="102"/>
                  </a:cubicBezTo>
                  <a:cubicBezTo>
                    <a:pt x="104" y="129"/>
                    <a:pt x="81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7" name="Freeform 51"/>
            <p:cNvSpPr>
              <a:spLocks noEditPoints="1"/>
            </p:cNvSpPr>
            <p:nvPr/>
          </p:nvSpPr>
          <p:spPr bwMode="auto">
            <a:xfrm>
              <a:off x="8704263" y="-495301"/>
              <a:ext cx="92075" cy="128588"/>
            </a:xfrm>
            <a:custGeom>
              <a:avLst/>
              <a:gdLst>
                <a:gd name="T0" fmla="*/ 55 w 102"/>
                <a:gd name="T1" fmla="*/ 89 h 143"/>
                <a:gd name="T2" fmla="*/ 55 w 102"/>
                <a:gd name="T3" fmla="*/ 89 h 143"/>
                <a:gd name="T4" fmla="*/ 27 w 102"/>
                <a:gd name="T5" fmla="*/ 89 h 143"/>
                <a:gd name="T6" fmla="*/ 27 w 102"/>
                <a:gd name="T7" fmla="*/ 143 h 143"/>
                <a:gd name="T8" fmla="*/ 0 w 102"/>
                <a:gd name="T9" fmla="*/ 143 h 143"/>
                <a:gd name="T10" fmla="*/ 0 w 102"/>
                <a:gd name="T11" fmla="*/ 0 h 143"/>
                <a:gd name="T12" fmla="*/ 55 w 102"/>
                <a:gd name="T13" fmla="*/ 0 h 143"/>
                <a:gd name="T14" fmla="*/ 102 w 102"/>
                <a:gd name="T15" fmla="*/ 45 h 143"/>
                <a:gd name="T16" fmla="*/ 55 w 102"/>
                <a:gd name="T17" fmla="*/ 89 h 143"/>
                <a:gd name="T18" fmla="*/ 53 w 102"/>
                <a:gd name="T19" fmla="*/ 25 h 143"/>
                <a:gd name="T20" fmla="*/ 53 w 102"/>
                <a:gd name="T21" fmla="*/ 25 h 143"/>
                <a:gd name="T22" fmla="*/ 27 w 102"/>
                <a:gd name="T23" fmla="*/ 25 h 143"/>
                <a:gd name="T24" fmla="*/ 27 w 102"/>
                <a:gd name="T25" fmla="*/ 64 h 143"/>
                <a:gd name="T26" fmla="*/ 53 w 102"/>
                <a:gd name="T27" fmla="*/ 64 h 143"/>
                <a:gd name="T28" fmla="*/ 74 w 102"/>
                <a:gd name="T29" fmla="*/ 45 h 143"/>
                <a:gd name="T30" fmla="*/ 53 w 102"/>
                <a:gd name="T31" fmla="*/ 2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2" h="143">
                  <a:moveTo>
                    <a:pt x="55" y="89"/>
                  </a:moveTo>
                  <a:lnTo>
                    <a:pt x="55" y="89"/>
                  </a:lnTo>
                  <a:lnTo>
                    <a:pt x="27" y="89"/>
                  </a:lnTo>
                  <a:lnTo>
                    <a:pt x="27" y="143"/>
                  </a:lnTo>
                  <a:lnTo>
                    <a:pt x="0" y="143"/>
                  </a:lnTo>
                  <a:lnTo>
                    <a:pt x="0" y="0"/>
                  </a:lnTo>
                  <a:lnTo>
                    <a:pt x="55" y="0"/>
                  </a:lnTo>
                  <a:cubicBezTo>
                    <a:pt x="84" y="0"/>
                    <a:pt x="102" y="20"/>
                    <a:pt x="102" y="45"/>
                  </a:cubicBezTo>
                  <a:cubicBezTo>
                    <a:pt x="102" y="69"/>
                    <a:pt x="84" y="89"/>
                    <a:pt x="55" y="89"/>
                  </a:cubicBezTo>
                  <a:close/>
                  <a:moveTo>
                    <a:pt x="53" y="25"/>
                  </a:moveTo>
                  <a:lnTo>
                    <a:pt x="53" y="25"/>
                  </a:lnTo>
                  <a:lnTo>
                    <a:pt x="27" y="25"/>
                  </a:lnTo>
                  <a:lnTo>
                    <a:pt x="27" y="64"/>
                  </a:lnTo>
                  <a:lnTo>
                    <a:pt x="53" y="64"/>
                  </a:lnTo>
                  <a:cubicBezTo>
                    <a:pt x="66" y="64"/>
                    <a:pt x="74" y="56"/>
                    <a:pt x="74" y="45"/>
                  </a:cubicBezTo>
                  <a:cubicBezTo>
                    <a:pt x="74" y="33"/>
                    <a:pt x="66" y="25"/>
                    <a:pt x="53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8" name="Freeform 52"/>
            <p:cNvSpPr>
              <a:spLocks noEditPoints="1"/>
            </p:cNvSpPr>
            <p:nvPr/>
          </p:nvSpPr>
          <p:spPr bwMode="auto">
            <a:xfrm>
              <a:off x="8813800" y="-496888"/>
              <a:ext cx="93663" cy="130175"/>
            </a:xfrm>
            <a:custGeom>
              <a:avLst/>
              <a:gdLst>
                <a:gd name="T0" fmla="*/ 91 w 106"/>
                <a:gd name="T1" fmla="*/ 129 h 145"/>
                <a:gd name="T2" fmla="*/ 91 w 106"/>
                <a:gd name="T3" fmla="*/ 129 h 145"/>
                <a:gd name="T4" fmla="*/ 53 w 106"/>
                <a:gd name="T5" fmla="*/ 145 h 145"/>
                <a:gd name="T6" fmla="*/ 14 w 106"/>
                <a:gd name="T7" fmla="*/ 129 h 145"/>
                <a:gd name="T8" fmla="*/ 0 w 106"/>
                <a:gd name="T9" fmla="*/ 72 h 145"/>
                <a:gd name="T10" fmla="*/ 14 w 106"/>
                <a:gd name="T11" fmla="*/ 16 h 145"/>
                <a:gd name="T12" fmla="*/ 53 w 106"/>
                <a:gd name="T13" fmla="*/ 0 h 145"/>
                <a:gd name="T14" fmla="*/ 91 w 106"/>
                <a:gd name="T15" fmla="*/ 16 h 145"/>
                <a:gd name="T16" fmla="*/ 105 w 106"/>
                <a:gd name="T17" fmla="*/ 72 h 145"/>
                <a:gd name="T18" fmla="*/ 91 w 106"/>
                <a:gd name="T19" fmla="*/ 129 h 145"/>
                <a:gd name="T20" fmla="*/ 71 w 106"/>
                <a:gd name="T21" fmla="*/ 32 h 145"/>
                <a:gd name="T22" fmla="*/ 71 w 106"/>
                <a:gd name="T23" fmla="*/ 32 h 145"/>
                <a:gd name="T24" fmla="*/ 53 w 106"/>
                <a:gd name="T25" fmla="*/ 25 h 145"/>
                <a:gd name="T26" fmla="*/ 35 w 106"/>
                <a:gd name="T27" fmla="*/ 32 h 145"/>
                <a:gd name="T28" fmla="*/ 28 w 106"/>
                <a:gd name="T29" fmla="*/ 72 h 145"/>
                <a:gd name="T30" fmla="*/ 35 w 106"/>
                <a:gd name="T31" fmla="*/ 112 h 145"/>
                <a:gd name="T32" fmla="*/ 53 w 106"/>
                <a:gd name="T33" fmla="*/ 120 h 145"/>
                <a:gd name="T34" fmla="*/ 71 w 106"/>
                <a:gd name="T35" fmla="*/ 112 h 145"/>
                <a:gd name="T36" fmla="*/ 78 w 106"/>
                <a:gd name="T37" fmla="*/ 72 h 145"/>
                <a:gd name="T38" fmla="*/ 71 w 106"/>
                <a:gd name="T39" fmla="*/ 32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6" h="145">
                  <a:moveTo>
                    <a:pt x="91" y="129"/>
                  </a:moveTo>
                  <a:lnTo>
                    <a:pt x="91" y="129"/>
                  </a:lnTo>
                  <a:cubicBezTo>
                    <a:pt x="81" y="139"/>
                    <a:pt x="69" y="145"/>
                    <a:pt x="53" y="145"/>
                  </a:cubicBezTo>
                  <a:cubicBezTo>
                    <a:pt x="37" y="145"/>
                    <a:pt x="24" y="139"/>
                    <a:pt x="14" y="129"/>
                  </a:cubicBezTo>
                  <a:cubicBezTo>
                    <a:pt x="0" y="115"/>
                    <a:pt x="0" y="97"/>
                    <a:pt x="0" y="72"/>
                  </a:cubicBezTo>
                  <a:cubicBezTo>
                    <a:pt x="0" y="48"/>
                    <a:pt x="0" y="30"/>
                    <a:pt x="14" y="16"/>
                  </a:cubicBezTo>
                  <a:cubicBezTo>
                    <a:pt x="24" y="6"/>
                    <a:pt x="37" y="0"/>
                    <a:pt x="53" y="0"/>
                  </a:cubicBezTo>
                  <a:cubicBezTo>
                    <a:pt x="69" y="0"/>
                    <a:pt x="81" y="6"/>
                    <a:pt x="91" y="16"/>
                  </a:cubicBezTo>
                  <a:cubicBezTo>
                    <a:pt x="106" y="30"/>
                    <a:pt x="105" y="48"/>
                    <a:pt x="105" y="72"/>
                  </a:cubicBezTo>
                  <a:cubicBezTo>
                    <a:pt x="105" y="97"/>
                    <a:pt x="106" y="115"/>
                    <a:pt x="91" y="129"/>
                  </a:cubicBezTo>
                  <a:close/>
                  <a:moveTo>
                    <a:pt x="71" y="32"/>
                  </a:moveTo>
                  <a:lnTo>
                    <a:pt x="71" y="32"/>
                  </a:lnTo>
                  <a:cubicBezTo>
                    <a:pt x="67" y="28"/>
                    <a:pt x="60" y="25"/>
                    <a:pt x="53" y="25"/>
                  </a:cubicBezTo>
                  <a:cubicBezTo>
                    <a:pt x="45" y="25"/>
                    <a:pt x="39" y="28"/>
                    <a:pt x="35" y="32"/>
                  </a:cubicBezTo>
                  <a:cubicBezTo>
                    <a:pt x="29" y="38"/>
                    <a:pt x="28" y="45"/>
                    <a:pt x="28" y="72"/>
                  </a:cubicBezTo>
                  <a:cubicBezTo>
                    <a:pt x="28" y="100"/>
                    <a:pt x="29" y="106"/>
                    <a:pt x="35" y="112"/>
                  </a:cubicBezTo>
                  <a:cubicBezTo>
                    <a:pt x="39" y="117"/>
                    <a:pt x="45" y="120"/>
                    <a:pt x="53" y="120"/>
                  </a:cubicBezTo>
                  <a:cubicBezTo>
                    <a:pt x="60" y="120"/>
                    <a:pt x="67" y="117"/>
                    <a:pt x="71" y="112"/>
                  </a:cubicBezTo>
                  <a:cubicBezTo>
                    <a:pt x="76" y="106"/>
                    <a:pt x="78" y="100"/>
                    <a:pt x="78" y="72"/>
                  </a:cubicBezTo>
                  <a:cubicBezTo>
                    <a:pt x="78" y="45"/>
                    <a:pt x="76" y="38"/>
                    <a:pt x="71" y="3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9" name="Freeform 53"/>
            <p:cNvSpPr>
              <a:spLocks/>
            </p:cNvSpPr>
            <p:nvPr/>
          </p:nvSpPr>
          <p:spPr bwMode="auto">
            <a:xfrm>
              <a:off x="8921750" y="-496888"/>
              <a:ext cx="93663" cy="130175"/>
            </a:xfrm>
            <a:custGeom>
              <a:avLst/>
              <a:gdLst>
                <a:gd name="T0" fmla="*/ 52 w 105"/>
                <a:gd name="T1" fmla="*/ 145 h 145"/>
                <a:gd name="T2" fmla="*/ 52 w 105"/>
                <a:gd name="T3" fmla="*/ 145 h 145"/>
                <a:gd name="T4" fmla="*/ 0 w 105"/>
                <a:gd name="T5" fmla="*/ 126 h 145"/>
                <a:gd name="T6" fmla="*/ 18 w 105"/>
                <a:gd name="T7" fmla="*/ 108 h 145"/>
                <a:gd name="T8" fmla="*/ 53 w 105"/>
                <a:gd name="T9" fmla="*/ 120 h 145"/>
                <a:gd name="T10" fmla="*/ 78 w 105"/>
                <a:gd name="T11" fmla="*/ 102 h 145"/>
                <a:gd name="T12" fmla="*/ 74 w 105"/>
                <a:gd name="T13" fmla="*/ 90 h 145"/>
                <a:gd name="T14" fmla="*/ 61 w 105"/>
                <a:gd name="T15" fmla="*/ 85 h 145"/>
                <a:gd name="T16" fmla="*/ 44 w 105"/>
                <a:gd name="T17" fmla="*/ 83 h 145"/>
                <a:gd name="T18" fmla="*/ 16 w 105"/>
                <a:gd name="T19" fmla="*/ 71 h 145"/>
                <a:gd name="T20" fmla="*/ 6 w 105"/>
                <a:gd name="T21" fmla="*/ 43 h 145"/>
                <a:gd name="T22" fmla="*/ 56 w 105"/>
                <a:gd name="T23" fmla="*/ 0 h 145"/>
                <a:gd name="T24" fmla="*/ 102 w 105"/>
                <a:gd name="T25" fmla="*/ 17 h 145"/>
                <a:gd name="T26" fmla="*/ 84 w 105"/>
                <a:gd name="T27" fmla="*/ 34 h 145"/>
                <a:gd name="T28" fmla="*/ 55 w 105"/>
                <a:gd name="T29" fmla="*/ 24 h 145"/>
                <a:gd name="T30" fmla="*/ 33 w 105"/>
                <a:gd name="T31" fmla="*/ 42 h 145"/>
                <a:gd name="T32" fmla="*/ 37 w 105"/>
                <a:gd name="T33" fmla="*/ 52 h 145"/>
                <a:gd name="T34" fmla="*/ 50 w 105"/>
                <a:gd name="T35" fmla="*/ 58 h 145"/>
                <a:gd name="T36" fmla="*/ 67 w 105"/>
                <a:gd name="T37" fmla="*/ 60 h 145"/>
                <a:gd name="T38" fmla="*/ 94 w 105"/>
                <a:gd name="T39" fmla="*/ 71 h 145"/>
                <a:gd name="T40" fmla="*/ 105 w 105"/>
                <a:gd name="T41" fmla="*/ 102 h 145"/>
                <a:gd name="T42" fmla="*/ 52 w 105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5" h="145">
                  <a:moveTo>
                    <a:pt x="52" y="145"/>
                  </a:moveTo>
                  <a:lnTo>
                    <a:pt x="52" y="145"/>
                  </a:lnTo>
                  <a:cubicBezTo>
                    <a:pt x="31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40" y="120"/>
                    <a:pt x="53" y="120"/>
                  </a:cubicBezTo>
                  <a:cubicBezTo>
                    <a:pt x="69" y="120"/>
                    <a:pt x="78" y="114"/>
                    <a:pt x="78" y="102"/>
                  </a:cubicBezTo>
                  <a:cubicBezTo>
                    <a:pt x="78" y="97"/>
                    <a:pt x="77" y="93"/>
                    <a:pt x="74" y="90"/>
                  </a:cubicBezTo>
                  <a:cubicBezTo>
                    <a:pt x="71" y="88"/>
                    <a:pt x="68" y="86"/>
                    <a:pt x="61" y="85"/>
                  </a:cubicBezTo>
                  <a:lnTo>
                    <a:pt x="44" y="83"/>
                  </a:lnTo>
                  <a:cubicBezTo>
                    <a:pt x="32" y="81"/>
                    <a:pt x="23" y="77"/>
                    <a:pt x="16" y="71"/>
                  </a:cubicBezTo>
                  <a:cubicBezTo>
                    <a:pt x="9" y="65"/>
                    <a:pt x="6" y="55"/>
                    <a:pt x="6" y="43"/>
                  </a:cubicBezTo>
                  <a:cubicBezTo>
                    <a:pt x="6" y="18"/>
                    <a:pt x="25" y="0"/>
                    <a:pt x="56" y="0"/>
                  </a:cubicBezTo>
                  <a:cubicBezTo>
                    <a:pt x="75" y="0"/>
                    <a:pt x="89" y="5"/>
                    <a:pt x="102" y="17"/>
                  </a:cubicBezTo>
                  <a:lnTo>
                    <a:pt x="84" y="34"/>
                  </a:lnTo>
                  <a:cubicBezTo>
                    <a:pt x="75" y="26"/>
                    <a:pt x="64" y="24"/>
                    <a:pt x="55" y="24"/>
                  </a:cubicBezTo>
                  <a:cubicBezTo>
                    <a:pt x="40" y="24"/>
                    <a:pt x="33" y="32"/>
                    <a:pt x="33" y="42"/>
                  </a:cubicBezTo>
                  <a:cubicBezTo>
                    <a:pt x="33" y="46"/>
                    <a:pt x="34" y="50"/>
                    <a:pt x="37" y="52"/>
                  </a:cubicBezTo>
                  <a:cubicBezTo>
                    <a:pt x="40" y="55"/>
                    <a:pt x="44" y="57"/>
                    <a:pt x="50" y="58"/>
                  </a:cubicBezTo>
                  <a:lnTo>
                    <a:pt x="67" y="60"/>
                  </a:lnTo>
                  <a:cubicBezTo>
                    <a:pt x="80" y="62"/>
                    <a:pt x="88" y="66"/>
                    <a:pt x="94" y="71"/>
                  </a:cubicBezTo>
                  <a:cubicBezTo>
                    <a:pt x="102" y="79"/>
                    <a:pt x="105" y="89"/>
                    <a:pt x="105" y="102"/>
                  </a:cubicBezTo>
                  <a:cubicBezTo>
                    <a:pt x="105" y="129"/>
                    <a:pt x="82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0" name="Freeform 54"/>
            <p:cNvSpPr>
              <a:spLocks noEditPoints="1"/>
            </p:cNvSpPr>
            <p:nvPr/>
          </p:nvSpPr>
          <p:spPr bwMode="auto">
            <a:xfrm>
              <a:off x="9024938" y="-495301"/>
              <a:ext cx="112713" cy="128588"/>
            </a:xfrm>
            <a:custGeom>
              <a:avLst/>
              <a:gdLst>
                <a:gd name="T0" fmla="*/ 97 w 126"/>
                <a:gd name="T1" fmla="*/ 143 h 143"/>
                <a:gd name="T2" fmla="*/ 97 w 126"/>
                <a:gd name="T3" fmla="*/ 143 h 143"/>
                <a:gd name="T4" fmla="*/ 89 w 126"/>
                <a:gd name="T5" fmla="*/ 117 h 143"/>
                <a:gd name="T6" fmla="*/ 38 w 126"/>
                <a:gd name="T7" fmla="*/ 117 h 143"/>
                <a:gd name="T8" fmla="*/ 29 w 126"/>
                <a:gd name="T9" fmla="*/ 143 h 143"/>
                <a:gd name="T10" fmla="*/ 0 w 126"/>
                <a:gd name="T11" fmla="*/ 143 h 143"/>
                <a:gd name="T12" fmla="*/ 52 w 126"/>
                <a:gd name="T13" fmla="*/ 0 h 143"/>
                <a:gd name="T14" fmla="*/ 74 w 126"/>
                <a:gd name="T15" fmla="*/ 0 h 143"/>
                <a:gd name="T16" fmla="*/ 126 w 126"/>
                <a:gd name="T17" fmla="*/ 143 h 143"/>
                <a:gd name="T18" fmla="*/ 97 w 126"/>
                <a:gd name="T19" fmla="*/ 143 h 143"/>
                <a:gd name="T20" fmla="*/ 64 w 126"/>
                <a:gd name="T21" fmla="*/ 42 h 143"/>
                <a:gd name="T22" fmla="*/ 64 w 126"/>
                <a:gd name="T23" fmla="*/ 42 h 143"/>
                <a:gd name="T24" fmla="*/ 46 w 126"/>
                <a:gd name="T25" fmla="*/ 94 h 143"/>
                <a:gd name="T26" fmla="*/ 81 w 126"/>
                <a:gd name="T27" fmla="*/ 94 h 143"/>
                <a:gd name="T28" fmla="*/ 64 w 126"/>
                <a:gd name="T29" fmla="*/ 4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6" h="143">
                  <a:moveTo>
                    <a:pt x="97" y="143"/>
                  </a:moveTo>
                  <a:lnTo>
                    <a:pt x="97" y="143"/>
                  </a:lnTo>
                  <a:lnTo>
                    <a:pt x="89" y="117"/>
                  </a:lnTo>
                  <a:lnTo>
                    <a:pt x="38" y="117"/>
                  </a:lnTo>
                  <a:lnTo>
                    <a:pt x="29" y="143"/>
                  </a:lnTo>
                  <a:lnTo>
                    <a:pt x="0" y="143"/>
                  </a:lnTo>
                  <a:lnTo>
                    <a:pt x="52" y="0"/>
                  </a:lnTo>
                  <a:lnTo>
                    <a:pt x="74" y="0"/>
                  </a:lnTo>
                  <a:lnTo>
                    <a:pt x="126" y="143"/>
                  </a:lnTo>
                  <a:lnTo>
                    <a:pt x="97" y="143"/>
                  </a:lnTo>
                  <a:close/>
                  <a:moveTo>
                    <a:pt x="64" y="42"/>
                  </a:moveTo>
                  <a:lnTo>
                    <a:pt x="64" y="42"/>
                  </a:lnTo>
                  <a:lnTo>
                    <a:pt x="46" y="94"/>
                  </a:lnTo>
                  <a:lnTo>
                    <a:pt x="81" y="94"/>
                  </a:lnTo>
                  <a:lnTo>
                    <a:pt x="64" y="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1" name="Freeform 55"/>
            <p:cNvSpPr>
              <a:spLocks/>
            </p:cNvSpPr>
            <p:nvPr/>
          </p:nvSpPr>
          <p:spPr bwMode="auto">
            <a:xfrm>
              <a:off x="9155113" y="-495301"/>
              <a:ext cx="82550" cy="128588"/>
            </a:xfrm>
            <a:custGeom>
              <a:avLst/>
              <a:gdLst>
                <a:gd name="T0" fmla="*/ 0 w 92"/>
                <a:gd name="T1" fmla="*/ 0 h 143"/>
                <a:gd name="T2" fmla="*/ 0 w 92"/>
                <a:gd name="T3" fmla="*/ 0 h 143"/>
                <a:gd name="T4" fmla="*/ 0 w 92"/>
                <a:gd name="T5" fmla="*/ 143 h 143"/>
                <a:gd name="T6" fmla="*/ 92 w 92"/>
                <a:gd name="T7" fmla="*/ 143 h 143"/>
                <a:gd name="T8" fmla="*/ 92 w 92"/>
                <a:gd name="T9" fmla="*/ 118 h 143"/>
                <a:gd name="T10" fmla="*/ 28 w 92"/>
                <a:gd name="T11" fmla="*/ 118 h 143"/>
                <a:gd name="T12" fmla="*/ 28 w 92"/>
                <a:gd name="T13" fmla="*/ 0 h 143"/>
                <a:gd name="T14" fmla="*/ 0 w 92"/>
                <a:gd name="T1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143">
                  <a:moveTo>
                    <a:pt x="0" y="0"/>
                  </a:moveTo>
                  <a:lnTo>
                    <a:pt x="0" y="0"/>
                  </a:lnTo>
                  <a:lnTo>
                    <a:pt x="0" y="143"/>
                  </a:lnTo>
                  <a:lnTo>
                    <a:pt x="92" y="143"/>
                  </a:lnTo>
                  <a:lnTo>
                    <a:pt x="92" y="118"/>
                  </a:lnTo>
                  <a:lnTo>
                    <a:pt x="28" y="118"/>
                  </a:lnTo>
                  <a:lnTo>
                    <a:pt x="2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67" name="text"/>
          <p:cNvSpPr/>
          <p:nvPr/>
        </p:nvSpPr>
        <p:spPr>
          <a:xfrm>
            <a:off x="188565" y="2201591"/>
            <a:ext cx="898593" cy="22990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werage</a:t>
            </a:r>
          </a:p>
        </p:txBody>
      </p:sp>
      <p:sp>
        <p:nvSpPr>
          <p:cNvPr id="268" name="text"/>
          <p:cNvSpPr/>
          <p:nvPr/>
        </p:nvSpPr>
        <p:spPr>
          <a:xfrm>
            <a:off x="121706" y="3230463"/>
            <a:ext cx="1032310" cy="70442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45720" r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n-sewerage</a:t>
            </a:r>
          </a:p>
        </p:txBody>
      </p:sp>
      <p:sp>
        <p:nvSpPr>
          <p:cNvPr id="134" name="Reuse/Disposal blue"/>
          <p:cNvSpPr/>
          <p:nvPr/>
        </p:nvSpPr>
        <p:spPr>
          <a:xfrm>
            <a:off x="7424878" y="1464751"/>
            <a:ext cx="1280160" cy="29260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36" name="Reuse/Disposal"/>
          <p:cNvGrpSpPr/>
          <p:nvPr/>
        </p:nvGrpSpPr>
        <p:grpSpPr>
          <a:xfrm>
            <a:off x="7479799" y="1628013"/>
            <a:ext cx="1170319" cy="125437"/>
            <a:chOff x="7800975" y="-508001"/>
            <a:chExt cx="1436688" cy="153988"/>
          </a:xfrm>
          <a:solidFill>
            <a:schemeClr val="accent3">
              <a:lumMod val="75000"/>
            </a:schemeClr>
          </a:solidFill>
        </p:grpSpPr>
        <p:sp>
          <p:nvSpPr>
            <p:cNvPr id="370" name="Freeform 42"/>
            <p:cNvSpPr>
              <a:spLocks noEditPoints="1"/>
            </p:cNvSpPr>
            <p:nvPr/>
          </p:nvSpPr>
          <p:spPr bwMode="auto">
            <a:xfrm>
              <a:off x="7800975" y="-495301"/>
              <a:ext cx="95250" cy="128588"/>
            </a:xfrm>
            <a:custGeom>
              <a:avLst/>
              <a:gdLst>
                <a:gd name="T0" fmla="*/ 76 w 108"/>
                <a:gd name="T1" fmla="*/ 143 h 143"/>
                <a:gd name="T2" fmla="*/ 76 w 108"/>
                <a:gd name="T3" fmla="*/ 143 h 143"/>
                <a:gd name="T4" fmla="*/ 48 w 108"/>
                <a:gd name="T5" fmla="*/ 86 h 143"/>
                <a:gd name="T6" fmla="*/ 28 w 108"/>
                <a:gd name="T7" fmla="*/ 86 h 143"/>
                <a:gd name="T8" fmla="*/ 28 w 108"/>
                <a:gd name="T9" fmla="*/ 143 h 143"/>
                <a:gd name="T10" fmla="*/ 0 w 108"/>
                <a:gd name="T11" fmla="*/ 143 h 143"/>
                <a:gd name="T12" fmla="*/ 0 w 108"/>
                <a:gd name="T13" fmla="*/ 0 h 143"/>
                <a:gd name="T14" fmla="*/ 56 w 108"/>
                <a:gd name="T15" fmla="*/ 0 h 143"/>
                <a:gd name="T16" fmla="*/ 102 w 108"/>
                <a:gd name="T17" fmla="*/ 44 h 143"/>
                <a:gd name="T18" fmla="*/ 76 w 108"/>
                <a:gd name="T19" fmla="*/ 81 h 143"/>
                <a:gd name="T20" fmla="*/ 108 w 108"/>
                <a:gd name="T21" fmla="*/ 143 h 143"/>
                <a:gd name="T22" fmla="*/ 76 w 108"/>
                <a:gd name="T23" fmla="*/ 143 h 143"/>
                <a:gd name="T24" fmla="*/ 54 w 108"/>
                <a:gd name="T25" fmla="*/ 25 h 143"/>
                <a:gd name="T26" fmla="*/ 54 w 108"/>
                <a:gd name="T27" fmla="*/ 25 h 143"/>
                <a:gd name="T28" fmla="*/ 28 w 108"/>
                <a:gd name="T29" fmla="*/ 25 h 143"/>
                <a:gd name="T30" fmla="*/ 28 w 108"/>
                <a:gd name="T31" fmla="*/ 63 h 143"/>
                <a:gd name="T32" fmla="*/ 54 w 108"/>
                <a:gd name="T33" fmla="*/ 63 h 143"/>
                <a:gd name="T34" fmla="*/ 74 w 108"/>
                <a:gd name="T35" fmla="*/ 44 h 143"/>
                <a:gd name="T36" fmla="*/ 54 w 108"/>
                <a:gd name="T37" fmla="*/ 2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8" h="143">
                  <a:moveTo>
                    <a:pt x="76" y="143"/>
                  </a:moveTo>
                  <a:lnTo>
                    <a:pt x="76" y="143"/>
                  </a:lnTo>
                  <a:lnTo>
                    <a:pt x="48" y="86"/>
                  </a:lnTo>
                  <a:lnTo>
                    <a:pt x="28" y="86"/>
                  </a:lnTo>
                  <a:lnTo>
                    <a:pt x="28" y="143"/>
                  </a:lnTo>
                  <a:lnTo>
                    <a:pt x="0" y="143"/>
                  </a:lnTo>
                  <a:lnTo>
                    <a:pt x="0" y="0"/>
                  </a:lnTo>
                  <a:lnTo>
                    <a:pt x="56" y="0"/>
                  </a:lnTo>
                  <a:cubicBezTo>
                    <a:pt x="85" y="0"/>
                    <a:pt x="102" y="20"/>
                    <a:pt x="102" y="44"/>
                  </a:cubicBezTo>
                  <a:cubicBezTo>
                    <a:pt x="102" y="64"/>
                    <a:pt x="90" y="76"/>
                    <a:pt x="76" y="81"/>
                  </a:cubicBezTo>
                  <a:lnTo>
                    <a:pt x="108" y="143"/>
                  </a:lnTo>
                  <a:lnTo>
                    <a:pt x="76" y="143"/>
                  </a:lnTo>
                  <a:close/>
                  <a:moveTo>
                    <a:pt x="54" y="25"/>
                  </a:moveTo>
                  <a:lnTo>
                    <a:pt x="54" y="25"/>
                  </a:lnTo>
                  <a:lnTo>
                    <a:pt x="28" y="25"/>
                  </a:lnTo>
                  <a:lnTo>
                    <a:pt x="28" y="63"/>
                  </a:lnTo>
                  <a:lnTo>
                    <a:pt x="54" y="63"/>
                  </a:lnTo>
                  <a:cubicBezTo>
                    <a:pt x="66" y="63"/>
                    <a:pt x="74" y="55"/>
                    <a:pt x="74" y="44"/>
                  </a:cubicBezTo>
                  <a:cubicBezTo>
                    <a:pt x="74" y="33"/>
                    <a:pt x="66" y="25"/>
                    <a:pt x="54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1" name="Freeform 43"/>
            <p:cNvSpPr>
              <a:spLocks/>
            </p:cNvSpPr>
            <p:nvPr/>
          </p:nvSpPr>
          <p:spPr bwMode="auto">
            <a:xfrm>
              <a:off x="7916863" y="-495301"/>
              <a:ext cx="84138" cy="128588"/>
            </a:xfrm>
            <a:custGeom>
              <a:avLst/>
              <a:gdLst>
                <a:gd name="T0" fmla="*/ 0 w 94"/>
                <a:gd name="T1" fmla="*/ 143 h 143"/>
                <a:gd name="T2" fmla="*/ 0 w 94"/>
                <a:gd name="T3" fmla="*/ 143 h 143"/>
                <a:gd name="T4" fmla="*/ 0 w 94"/>
                <a:gd name="T5" fmla="*/ 0 h 143"/>
                <a:gd name="T6" fmla="*/ 94 w 94"/>
                <a:gd name="T7" fmla="*/ 0 h 143"/>
                <a:gd name="T8" fmla="*/ 94 w 94"/>
                <a:gd name="T9" fmla="*/ 25 h 143"/>
                <a:gd name="T10" fmla="*/ 28 w 94"/>
                <a:gd name="T11" fmla="*/ 25 h 143"/>
                <a:gd name="T12" fmla="*/ 28 w 94"/>
                <a:gd name="T13" fmla="*/ 59 h 143"/>
                <a:gd name="T14" fmla="*/ 84 w 94"/>
                <a:gd name="T15" fmla="*/ 59 h 143"/>
                <a:gd name="T16" fmla="*/ 84 w 94"/>
                <a:gd name="T17" fmla="*/ 83 h 143"/>
                <a:gd name="T18" fmla="*/ 28 w 94"/>
                <a:gd name="T19" fmla="*/ 83 h 143"/>
                <a:gd name="T20" fmla="*/ 28 w 94"/>
                <a:gd name="T21" fmla="*/ 118 h 143"/>
                <a:gd name="T22" fmla="*/ 94 w 94"/>
                <a:gd name="T23" fmla="*/ 118 h 143"/>
                <a:gd name="T24" fmla="*/ 94 w 94"/>
                <a:gd name="T25" fmla="*/ 143 h 143"/>
                <a:gd name="T26" fmla="*/ 0 w 94"/>
                <a:gd name="T27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4" h="143">
                  <a:moveTo>
                    <a:pt x="0" y="143"/>
                  </a:moveTo>
                  <a:lnTo>
                    <a:pt x="0" y="14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25"/>
                  </a:lnTo>
                  <a:lnTo>
                    <a:pt x="28" y="25"/>
                  </a:lnTo>
                  <a:lnTo>
                    <a:pt x="28" y="59"/>
                  </a:lnTo>
                  <a:lnTo>
                    <a:pt x="84" y="59"/>
                  </a:lnTo>
                  <a:lnTo>
                    <a:pt x="84" y="83"/>
                  </a:lnTo>
                  <a:lnTo>
                    <a:pt x="28" y="83"/>
                  </a:lnTo>
                  <a:lnTo>
                    <a:pt x="28" y="118"/>
                  </a:lnTo>
                  <a:lnTo>
                    <a:pt x="94" y="118"/>
                  </a:lnTo>
                  <a:lnTo>
                    <a:pt x="94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2" name="Freeform 44"/>
            <p:cNvSpPr>
              <a:spLocks/>
            </p:cNvSpPr>
            <p:nvPr/>
          </p:nvSpPr>
          <p:spPr bwMode="auto">
            <a:xfrm>
              <a:off x="8021638" y="-495301"/>
              <a:ext cx="93663" cy="128588"/>
            </a:xfrm>
            <a:custGeom>
              <a:avLst/>
              <a:gdLst>
                <a:gd name="T0" fmla="*/ 53 w 105"/>
                <a:gd name="T1" fmla="*/ 144 h 144"/>
                <a:gd name="T2" fmla="*/ 53 w 105"/>
                <a:gd name="T3" fmla="*/ 144 h 144"/>
                <a:gd name="T4" fmla="*/ 0 w 105"/>
                <a:gd name="T5" fmla="*/ 94 h 144"/>
                <a:gd name="T6" fmla="*/ 0 w 105"/>
                <a:gd name="T7" fmla="*/ 0 h 144"/>
                <a:gd name="T8" fmla="*/ 28 w 105"/>
                <a:gd name="T9" fmla="*/ 0 h 144"/>
                <a:gd name="T10" fmla="*/ 28 w 105"/>
                <a:gd name="T11" fmla="*/ 93 h 144"/>
                <a:gd name="T12" fmla="*/ 53 w 105"/>
                <a:gd name="T13" fmla="*/ 119 h 144"/>
                <a:gd name="T14" fmla="*/ 77 w 105"/>
                <a:gd name="T15" fmla="*/ 93 h 144"/>
                <a:gd name="T16" fmla="*/ 77 w 105"/>
                <a:gd name="T17" fmla="*/ 0 h 144"/>
                <a:gd name="T18" fmla="*/ 105 w 105"/>
                <a:gd name="T19" fmla="*/ 0 h 144"/>
                <a:gd name="T20" fmla="*/ 105 w 105"/>
                <a:gd name="T21" fmla="*/ 94 h 144"/>
                <a:gd name="T22" fmla="*/ 53 w 105"/>
                <a:gd name="T2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5" h="144">
                  <a:moveTo>
                    <a:pt x="53" y="144"/>
                  </a:moveTo>
                  <a:lnTo>
                    <a:pt x="53" y="144"/>
                  </a:lnTo>
                  <a:cubicBezTo>
                    <a:pt x="23" y="144"/>
                    <a:pt x="0" y="124"/>
                    <a:pt x="0" y="94"/>
                  </a:cubicBezTo>
                  <a:lnTo>
                    <a:pt x="0" y="0"/>
                  </a:lnTo>
                  <a:lnTo>
                    <a:pt x="28" y="0"/>
                  </a:lnTo>
                  <a:lnTo>
                    <a:pt x="28" y="93"/>
                  </a:lnTo>
                  <a:cubicBezTo>
                    <a:pt x="28" y="109"/>
                    <a:pt x="38" y="119"/>
                    <a:pt x="53" y="119"/>
                  </a:cubicBezTo>
                  <a:cubicBezTo>
                    <a:pt x="68" y="119"/>
                    <a:pt x="77" y="109"/>
                    <a:pt x="77" y="93"/>
                  </a:cubicBezTo>
                  <a:lnTo>
                    <a:pt x="77" y="0"/>
                  </a:lnTo>
                  <a:lnTo>
                    <a:pt x="105" y="0"/>
                  </a:lnTo>
                  <a:lnTo>
                    <a:pt x="105" y="94"/>
                  </a:lnTo>
                  <a:cubicBezTo>
                    <a:pt x="105" y="124"/>
                    <a:pt x="82" y="144"/>
                    <a:pt x="53" y="1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3" name="Freeform 45"/>
            <p:cNvSpPr>
              <a:spLocks/>
            </p:cNvSpPr>
            <p:nvPr/>
          </p:nvSpPr>
          <p:spPr bwMode="auto">
            <a:xfrm>
              <a:off x="8131175" y="-496888"/>
              <a:ext cx="92075" cy="130175"/>
            </a:xfrm>
            <a:custGeom>
              <a:avLst/>
              <a:gdLst>
                <a:gd name="T0" fmla="*/ 52 w 104"/>
                <a:gd name="T1" fmla="*/ 145 h 145"/>
                <a:gd name="T2" fmla="*/ 52 w 104"/>
                <a:gd name="T3" fmla="*/ 145 h 145"/>
                <a:gd name="T4" fmla="*/ 0 w 104"/>
                <a:gd name="T5" fmla="*/ 126 h 145"/>
                <a:gd name="T6" fmla="*/ 18 w 104"/>
                <a:gd name="T7" fmla="*/ 108 h 145"/>
                <a:gd name="T8" fmla="*/ 52 w 104"/>
                <a:gd name="T9" fmla="*/ 120 h 145"/>
                <a:gd name="T10" fmla="*/ 77 w 104"/>
                <a:gd name="T11" fmla="*/ 102 h 145"/>
                <a:gd name="T12" fmla="*/ 73 w 104"/>
                <a:gd name="T13" fmla="*/ 90 h 145"/>
                <a:gd name="T14" fmla="*/ 60 w 104"/>
                <a:gd name="T15" fmla="*/ 85 h 145"/>
                <a:gd name="T16" fmla="*/ 43 w 104"/>
                <a:gd name="T17" fmla="*/ 83 h 145"/>
                <a:gd name="T18" fmla="*/ 15 w 104"/>
                <a:gd name="T19" fmla="*/ 71 h 145"/>
                <a:gd name="T20" fmla="*/ 5 w 104"/>
                <a:gd name="T21" fmla="*/ 43 h 145"/>
                <a:gd name="T22" fmla="*/ 55 w 104"/>
                <a:gd name="T23" fmla="*/ 0 h 145"/>
                <a:gd name="T24" fmla="*/ 101 w 104"/>
                <a:gd name="T25" fmla="*/ 17 h 145"/>
                <a:gd name="T26" fmla="*/ 83 w 104"/>
                <a:gd name="T27" fmla="*/ 34 h 145"/>
                <a:gd name="T28" fmla="*/ 54 w 104"/>
                <a:gd name="T29" fmla="*/ 24 h 145"/>
                <a:gd name="T30" fmla="*/ 32 w 104"/>
                <a:gd name="T31" fmla="*/ 42 h 145"/>
                <a:gd name="T32" fmla="*/ 36 w 104"/>
                <a:gd name="T33" fmla="*/ 52 h 145"/>
                <a:gd name="T34" fmla="*/ 49 w 104"/>
                <a:gd name="T35" fmla="*/ 58 h 145"/>
                <a:gd name="T36" fmla="*/ 66 w 104"/>
                <a:gd name="T37" fmla="*/ 60 h 145"/>
                <a:gd name="T38" fmla="*/ 93 w 104"/>
                <a:gd name="T39" fmla="*/ 71 h 145"/>
                <a:gd name="T40" fmla="*/ 104 w 104"/>
                <a:gd name="T41" fmla="*/ 102 h 145"/>
                <a:gd name="T42" fmla="*/ 52 w 104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4" h="145">
                  <a:moveTo>
                    <a:pt x="52" y="145"/>
                  </a:moveTo>
                  <a:lnTo>
                    <a:pt x="52" y="145"/>
                  </a:lnTo>
                  <a:cubicBezTo>
                    <a:pt x="30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39" y="120"/>
                    <a:pt x="52" y="120"/>
                  </a:cubicBezTo>
                  <a:cubicBezTo>
                    <a:pt x="68" y="120"/>
                    <a:pt x="77" y="114"/>
                    <a:pt x="77" y="102"/>
                  </a:cubicBezTo>
                  <a:cubicBezTo>
                    <a:pt x="77" y="97"/>
                    <a:pt x="76" y="93"/>
                    <a:pt x="73" y="90"/>
                  </a:cubicBezTo>
                  <a:cubicBezTo>
                    <a:pt x="70" y="88"/>
                    <a:pt x="67" y="86"/>
                    <a:pt x="60" y="85"/>
                  </a:cubicBezTo>
                  <a:lnTo>
                    <a:pt x="43" y="83"/>
                  </a:lnTo>
                  <a:cubicBezTo>
                    <a:pt x="31" y="81"/>
                    <a:pt x="22" y="77"/>
                    <a:pt x="15" y="71"/>
                  </a:cubicBezTo>
                  <a:cubicBezTo>
                    <a:pt x="9" y="65"/>
                    <a:pt x="5" y="55"/>
                    <a:pt x="5" y="43"/>
                  </a:cubicBezTo>
                  <a:cubicBezTo>
                    <a:pt x="5" y="18"/>
                    <a:pt x="24" y="0"/>
                    <a:pt x="55" y="0"/>
                  </a:cubicBezTo>
                  <a:cubicBezTo>
                    <a:pt x="74" y="0"/>
                    <a:pt x="89" y="5"/>
                    <a:pt x="101" y="17"/>
                  </a:cubicBezTo>
                  <a:lnTo>
                    <a:pt x="83" y="34"/>
                  </a:lnTo>
                  <a:cubicBezTo>
                    <a:pt x="74" y="26"/>
                    <a:pt x="63" y="24"/>
                    <a:pt x="54" y="24"/>
                  </a:cubicBezTo>
                  <a:cubicBezTo>
                    <a:pt x="39" y="24"/>
                    <a:pt x="32" y="32"/>
                    <a:pt x="32" y="42"/>
                  </a:cubicBezTo>
                  <a:cubicBezTo>
                    <a:pt x="32" y="46"/>
                    <a:pt x="33" y="50"/>
                    <a:pt x="36" y="52"/>
                  </a:cubicBezTo>
                  <a:cubicBezTo>
                    <a:pt x="39" y="55"/>
                    <a:pt x="44" y="57"/>
                    <a:pt x="49" y="58"/>
                  </a:cubicBezTo>
                  <a:lnTo>
                    <a:pt x="66" y="60"/>
                  </a:lnTo>
                  <a:cubicBezTo>
                    <a:pt x="79" y="62"/>
                    <a:pt x="87" y="66"/>
                    <a:pt x="93" y="71"/>
                  </a:cubicBezTo>
                  <a:cubicBezTo>
                    <a:pt x="101" y="79"/>
                    <a:pt x="104" y="89"/>
                    <a:pt x="104" y="102"/>
                  </a:cubicBezTo>
                  <a:cubicBezTo>
                    <a:pt x="104" y="129"/>
                    <a:pt x="81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4" name="Freeform 46"/>
            <p:cNvSpPr>
              <a:spLocks/>
            </p:cNvSpPr>
            <p:nvPr/>
          </p:nvSpPr>
          <p:spPr bwMode="auto">
            <a:xfrm>
              <a:off x="8245475" y="-495301"/>
              <a:ext cx="84138" cy="128588"/>
            </a:xfrm>
            <a:custGeom>
              <a:avLst/>
              <a:gdLst>
                <a:gd name="T0" fmla="*/ 0 w 93"/>
                <a:gd name="T1" fmla="*/ 143 h 143"/>
                <a:gd name="T2" fmla="*/ 0 w 93"/>
                <a:gd name="T3" fmla="*/ 143 h 143"/>
                <a:gd name="T4" fmla="*/ 0 w 93"/>
                <a:gd name="T5" fmla="*/ 0 h 143"/>
                <a:gd name="T6" fmla="*/ 93 w 93"/>
                <a:gd name="T7" fmla="*/ 0 h 143"/>
                <a:gd name="T8" fmla="*/ 93 w 93"/>
                <a:gd name="T9" fmla="*/ 25 h 143"/>
                <a:gd name="T10" fmla="*/ 27 w 93"/>
                <a:gd name="T11" fmla="*/ 25 h 143"/>
                <a:gd name="T12" fmla="*/ 27 w 93"/>
                <a:gd name="T13" fmla="*/ 59 h 143"/>
                <a:gd name="T14" fmla="*/ 84 w 93"/>
                <a:gd name="T15" fmla="*/ 59 h 143"/>
                <a:gd name="T16" fmla="*/ 84 w 93"/>
                <a:gd name="T17" fmla="*/ 83 h 143"/>
                <a:gd name="T18" fmla="*/ 27 w 93"/>
                <a:gd name="T19" fmla="*/ 83 h 143"/>
                <a:gd name="T20" fmla="*/ 27 w 93"/>
                <a:gd name="T21" fmla="*/ 118 h 143"/>
                <a:gd name="T22" fmla="*/ 93 w 93"/>
                <a:gd name="T23" fmla="*/ 118 h 143"/>
                <a:gd name="T24" fmla="*/ 93 w 93"/>
                <a:gd name="T25" fmla="*/ 143 h 143"/>
                <a:gd name="T26" fmla="*/ 0 w 93"/>
                <a:gd name="T27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3" h="143">
                  <a:moveTo>
                    <a:pt x="0" y="143"/>
                  </a:moveTo>
                  <a:lnTo>
                    <a:pt x="0" y="143"/>
                  </a:lnTo>
                  <a:lnTo>
                    <a:pt x="0" y="0"/>
                  </a:lnTo>
                  <a:lnTo>
                    <a:pt x="93" y="0"/>
                  </a:lnTo>
                  <a:lnTo>
                    <a:pt x="93" y="25"/>
                  </a:lnTo>
                  <a:lnTo>
                    <a:pt x="27" y="25"/>
                  </a:lnTo>
                  <a:lnTo>
                    <a:pt x="27" y="59"/>
                  </a:lnTo>
                  <a:lnTo>
                    <a:pt x="84" y="59"/>
                  </a:lnTo>
                  <a:lnTo>
                    <a:pt x="84" y="83"/>
                  </a:lnTo>
                  <a:lnTo>
                    <a:pt x="27" y="83"/>
                  </a:lnTo>
                  <a:lnTo>
                    <a:pt x="27" y="118"/>
                  </a:lnTo>
                  <a:lnTo>
                    <a:pt x="93" y="118"/>
                  </a:lnTo>
                  <a:lnTo>
                    <a:pt x="93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5" name="Freeform 47"/>
            <p:cNvSpPr>
              <a:spLocks/>
            </p:cNvSpPr>
            <p:nvPr/>
          </p:nvSpPr>
          <p:spPr bwMode="auto">
            <a:xfrm>
              <a:off x="8342313" y="-508001"/>
              <a:ext cx="71438" cy="153988"/>
            </a:xfrm>
            <a:custGeom>
              <a:avLst/>
              <a:gdLst>
                <a:gd name="T0" fmla="*/ 57 w 81"/>
                <a:gd name="T1" fmla="*/ 0 h 172"/>
                <a:gd name="T2" fmla="*/ 57 w 81"/>
                <a:gd name="T3" fmla="*/ 0 h 172"/>
                <a:gd name="T4" fmla="*/ 0 w 81"/>
                <a:gd name="T5" fmla="*/ 172 h 172"/>
                <a:gd name="T6" fmla="*/ 24 w 81"/>
                <a:gd name="T7" fmla="*/ 172 h 172"/>
                <a:gd name="T8" fmla="*/ 81 w 81"/>
                <a:gd name="T9" fmla="*/ 0 h 172"/>
                <a:gd name="T10" fmla="*/ 57 w 81"/>
                <a:gd name="T11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172">
                  <a:moveTo>
                    <a:pt x="57" y="0"/>
                  </a:moveTo>
                  <a:lnTo>
                    <a:pt x="57" y="0"/>
                  </a:lnTo>
                  <a:lnTo>
                    <a:pt x="0" y="172"/>
                  </a:lnTo>
                  <a:lnTo>
                    <a:pt x="24" y="172"/>
                  </a:lnTo>
                  <a:lnTo>
                    <a:pt x="81" y="0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6" name="Freeform 48"/>
            <p:cNvSpPr>
              <a:spLocks noEditPoints="1"/>
            </p:cNvSpPr>
            <p:nvPr/>
          </p:nvSpPr>
          <p:spPr bwMode="auto">
            <a:xfrm>
              <a:off x="8429625" y="-495301"/>
              <a:ext cx="93663" cy="128588"/>
            </a:xfrm>
            <a:custGeom>
              <a:avLst/>
              <a:gdLst>
                <a:gd name="T0" fmla="*/ 89 w 105"/>
                <a:gd name="T1" fmla="*/ 129 h 143"/>
                <a:gd name="T2" fmla="*/ 89 w 105"/>
                <a:gd name="T3" fmla="*/ 129 h 143"/>
                <a:gd name="T4" fmla="*/ 51 w 105"/>
                <a:gd name="T5" fmla="*/ 143 h 143"/>
                <a:gd name="T6" fmla="*/ 0 w 105"/>
                <a:gd name="T7" fmla="*/ 143 h 143"/>
                <a:gd name="T8" fmla="*/ 0 w 105"/>
                <a:gd name="T9" fmla="*/ 0 h 143"/>
                <a:gd name="T10" fmla="*/ 51 w 105"/>
                <a:gd name="T11" fmla="*/ 0 h 143"/>
                <a:gd name="T12" fmla="*/ 89 w 105"/>
                <a:gd name="T13" fmla="*/ 14 h 143"/>
                <a:gd name="T14" fmla="*/ 103 w 105"/>
                <a:gd name="T15" fmla="*/ 71 h 143"/>
                <a:gd name="T16" fmla="*/ 89 w 105"/>
                <a:gd name="T17" fmla="*/ 129 h 143"/>
                <a:gd name="T18" fmla="*/ 69 w 105"/>
                <a:gd name="T19" fmla="*/ 34 h 143"/>
                <a:gd name="T20" fmla="*/ 69 w 105"/>
                <a:gd name="T21" fmla="*/ 34 h 143"/>
                <a:gd name="T22" fmla="*/ 48 w 105"/>
                <a:gd name="T23" fmla="*/ 25 h 143"/>
                <a:gd name="T24" fmla="*/ 27 w 105"/>
                <a:gd name="T25" fmla="*/ 25 h 143"/>
                <a:gd name="T26" fmla="*/ 27 w 105"/>
                <a:gd name="T27" fmla="*/ 118 h 143"/>
                <a:gd name="T28" fmla="*/ 48 w 105"/>
                <a:gd name="T29" fmla="*/ 118 h 143"/>
                <a:gd name="T30" fmla="*/ 69 w 105"/>
                <a:gd name="T31" fmla="*/ 109 h 143"/>
                <a:gd name="T32" fmla="*/ 75 w 105"/>
                <a:gd name="T33" fmla="*/ 71 h 143"/>
                <a:gd name="T34" fmla="*/ 69 w 105"/>
                <a:gd name="T35" fmla="*/ 3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" h="143">
                  <a:moveTo>
                    <a:pt x="89" y="129"/>
                  </a:moveTo>
                  <a:lnTo>
                    <a:pt x="89" y="129"/>
                  </a:lnTo>
                  <a:cubicBezTo>
                    <a:pt x="79" y="138"/>
                    <a:pt x="66" y="143"/>
                    <a:pt x="51" y="143"/>
                  </a:cubicBezTo>
                  <a:lnTo>
                    <a:pt x="0" y="143"/>
                  </a:lnTo>
                  <a:lnTo>
                    <a:pt x="0" y="0"/>
                  </a:lnTo>
                  <a:lnTo>
                    <a:pt x="51" y="0"/>
                  </a:lnTo>
                  <a:cubicBezTo>
                    <a:pt x="66" y="0"/>
                    <a:pt x="79" y="5"/>
                    <a:pt x="89" y="14"/>
                  </a:cubicBezTo>
                  <a:cubicBezTo>
                    <a:pt x="105" y="30"/>
                    <a:pt x="103" y="50"/>
                    <a:pt x="103" y="71"/>
                  </a:cubicBezTo>
                  <a:cubicBezTo>
                    <a:pt x="103" y="92"/>
                    <a:pt x="105" y="113"/>
                    <a:pt x="89" y="129"/>
                  </a:cubicBezTo>
                  <a:close/>
                  <a:moveTo>
                    <a:pt x="69" y="34"/>
                  </a:moveTo>
                  <a:lnTo>
                    <a:pt x="69" y="34"/>
                  </a:lnTo>
                  <a:cubicBezTo>
                    <a:pt x="64" y="28"/>
                    <a:pt x="58" y="25"/>
                    <a:pt x="48" y="25"/>
                  </a:cubicBezTo>
                  <a:lnTo>
                    <a:pt x="27" y="25"/>
                  </a:lnTo>
                  <a:lnTo>
                    <a:pt x="27" y="118"/>
                  </a:lnTo>
                  <a:lnTo>
                    <a:pt x="48" y="118"/>
                  </a:lnTo>
                  <a:cubicBezTo>
                    <a:pt x="58" y="118"/>
                    <a:pt x="64" y="115"/>
                    <a:pt x="69" y="109"/>
                  </a:cubicBezTo>
                  <a:cubicBezTo>
                    <a:pt x="74" y="103"/>
                    <a:pt x="75" y="93"/>
                    <a:pt x="75" y="71"/>
                  </a:cubicBezTo>
                  <a:cubicBezTo>
                    <a:pt x="75" y="49"/>
                    <a:pt x="74" y="40"/>
                    <a:pt x="69" y="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7" name="Freeform 49"/>
            <p:cNvSpPr>
              <a:spLocks/>
            </p:cNvSpPr>
            <p:nvPr/>
          </p:nvSpPr>
          <p:spPr bwMode="auto">
            <a:xfrm>
              <a:off x="8545513" y="-495301"/>
              <a:ext cx="25400" cy="128588"/>
            </a:xfrm>
            <a:custGeom>
              <a:avLst/>
              <a:gdLst>
                <a:gd name="T0" fmla="*/ 0 w 27"/>
                <a:gd name="T1" fmla="*/ 0 h 143"/>
                <a:gd name="T2" fmla="*/ 0 w 27"/>
                <a:gd name="T3" fmla="*/ 0 h 143"/>
                <a:gd name="T4" fmla="*/ 27 w 27"/>
                <a:gd name="T5" fmla="*/ 0 h 143"/>
                <a:gd name="T6" fmla="*/ 27 w 27"/>
                <a:gd name="T7" fmla="*/ 143 h 143"/>
                <a:gd name="T8" fmla="*/ 0 w 27"/>
                <a:gd name="T9" fmla="*/ 143 h 143"/>
                <a:gd name="T10" fmla="*/ 0 w 27"/>
                <a:gd name="T11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143">
                  <a:moveTo>
                    <a:pt x="0" y="0"/>
                  </a:moveTo>
                  <a:lnTo>
                    <a:pt x="0" y="0"/>
                  </a:lnTo>
                  <a:lnTo>
                    <a:pt x="27" y="0"/>
                  </a:lnTo>
                  <a:lnTo>
                    <a:pt x="27" y="143"/>
                  </a:lnTo>
                  <a:lnTo>
                    <a:pt x="0" y="14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8" name="Freeform 50"/>
            <p:cNvSpPr>
              <a:spLocks/>
            </p:cNvSpPr>
            <p:nvPr/>
          </p:nvSpPr>
          <p:spPr bwMode="auto">
            <a:xfrm>
              <a:off x="8589963" y="-496888"/>
              <a:ext cx="92075" cy="130175"/>
            </a:xfrm>
            <a:custGeom>
              <a:avLst/>
              <a:gdLst>
                <a:gd name="T0" fmla="*/ 52 w 104"/>
                <a:gd name="T1" fmla="*/ 145 h 145"/>
                <a:gd name="T2" fmla="*/ 52 w 104"/>
                <a:gd name="T3" fmla="*/ 145 h 145"/>
                <a:gd name="T4" fmla="*/ 0 w 104"/>
                <a:gd name="T5" fmla="*/ 126 h 145"/>
                <a:gd name="T6" fmla="*/ 18 w 104"/>
                <a:gd name="T7" fmla="*/ 108 h 145"/>
                <a:gd name="T8" fmla="*/ 52 w 104"/>
                <a:gd name="T9" fmla="*/ 120 h 145"/>
                <a:gd name="T10" fmla="*/ 77 w 104"/>
                <a:gd name="T11" fmla="*/ 102 h 145"/>
                <a:gd name="T12" fmla="*/ 73 w 104"/>
                <a:gd name="T13" fmla="*/ 90 h 145"/>
                <a:gd name="T14" fmla="*/ 60 w 104"/>
                <a:gd name="T15" fmla="*/ 85 h 145"/>
                <a:gd name="T16" fmla="*/ 43 w 104"/>
                <a:gd name="T17" fmla="*/ 83 h 145"/>
                <a:gd name="T18" fmla="*/ 15 w 104"/>
                <a:gd name="T19" fmla="*/ 71 h 145"/>
                <a:gd name="T20" fmla="*/ 5 w 104"/>
                <a:gd name="T21" fmla="*/ 43 h 145"/>
                <a:gd name="T22" fmla="*/ 55 w 104"/>
                <a:gd name="T23" fmla="*/ 0 h 145"/>
                <a:gd name="T24" fmla="*/ 101 w 104"/>
                <a:gd name="T25" fmla="*/ 17 h 145"/>
                <a:gd name="T26" fmla="*/ 83 w 104"/>
                <a:gd name="T27" fmla="*/ 34 h 145"/>
                <a:gd name="T28" fmla="*/ 54 w 104"/>
                <a:gd name="T29" fmla="*/ 24 h 145"/>
                <a:gd name="T30" fmla="*/ 32 w 104"/>
                <a:gd name="T31" fmla="*/ 42 h 145"/>
                <a:gd name="T32" fmla="*/ 36 w 104"/>
                <a:gd name="T33" fmla="*/ 52 h 145"/>
                <a:gd name="T34" fmla="*/ 49 w 104"/>
                <a:gd name="T35" fmla="*/ 58 h 145"/>
                <a:gd name="T36" fmla="*/ 66 w 104"/>
                <a:gd name="T37" fmla="*/ 60 h 145"/>
                <a:gd name="T38" fmla="*/ 93 w 104"/>
                <a:gd name="T39" fmla="*/ 71 h 145"/>
                <a:gd name="T40" fmla="*/ 104 w 104"/>
                <a:gd name="T41" fmla="*/ 102 h 145"/>
                <a:gd name="T42" fmla="*/ 52 w 104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4" h="145">
                  <a:moveTo>
                    <a:pt x="52" y="145"/>
                  </a:moveTo>
                  <a:lnTo>
                    <a:pt x="52" y="145"/>
                  </a:lnTo>
                  <a:cubicBezTo>
                    <a:pt x="30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39" y="120"/>
                    <a:pt x="52" y="120"/>
                  </a:cubicBezTo>
                  <a:cubicBezTo>
                    <a:pt x="68" y="120"/>
                    <a:pt x="77" y="114"/>
                    <a:pt x="77" y="102"/>
                  </a:cubicBezTo>
                  <a:cubicBezTo>
                    <a:pt x="77" y="97"/>
                    <a:pt x="76" y="93"/>
                    <a:pt x="73" y="90"/>
                  </a:cubicBezTo>
                  <a:cubicBezTo>
                    <a:pt x="70" y="88"/>
                    <a:pt x="67" y="86"/>
                    <a:pt x="60" y="85"/>
                  </a:cubicBezTo>
                  <a:lnTo>
                    <a:pt x="43" y="83"/>
                  </a:lnTo>
                  <a:cubicBezTo>
                    <a:pt x="31" y="81"/>
                    <a:pt x="22" y="77"/>
                    <a:pt x="15" y="71"/>
                  </a:cubicBezTo>
                  <a:cubicBezTo>
                    <a:pt x="9" y="65"/>
                    <a:pt x="5" y="55"/>
                    <a:pt x="5" y="43"/>
                  </a:cubicBezTo>
                  <a:cubicBezTo>
                    <a:pt x="5" y="18"/>
                    <a:pt x="24" y="0"/>
                    <a:pt x="55" y="0"/>
                  </a:cubicBezTo>
                  <a:cubicBezTo>
                    <a:pt x="74" y="0"/>
                    <a:pt x="89" y="5"/>
                    <a:pt x="101" y="17"/>
                  </a:cubicBezTo>
                  <a:lnTo>
                    <a:pt x="83" y="34"/>
                  </a:lnTo>
                  <a:cubicBezTo>
                    <a:pt x="74" y="26"/>
                    <a:pt x="63" y="24"/>
                    <a:pt x="54" y="24"/>
                  </a:cubicBezTo>
                  <a:cubicBezTo>
                    <a:pt x="39" y="24"/>
                    <a:pt x="32" y="32"/>
                    <a:pt x="32" y="42"/>
                  </a:cubicBezTo>
                  <a:cubicBezTo>
                    <a:pt x="32" y="46"/>
                    <a:pt x="33" y="50"/>
                    <a:pt x="36" y="52"/>
                  </a:cubicBezTo>
                  <a:cubicBezTo>
                    <a:pt x="39" y="55"/>
                    <a:pt x="44" y="57"/>
                    <a:pt x="49" y="58"/>
                  </a:cubicBezTo>
                  <a:lnTo>
                    <a:pt x="66" y="60"/>
                  </a:lnTo>
                  <a:cubicBezTo>
                    <a:pt x="79" y="62"/>
                    <a:pt x="87" y="66"/>
                    <a:pt x="93" y="71"/>
                  </a:cubicBezTo>
                  <a:cubicBezTo>
                    <a:pt x="101" y="79"/>
                    <a:pt x="104" y="89"/>
                    <a:pt x="104" y="102"/>
                  </a:cubicBezTo>
                  <a:cubicBezTo>
                    <a:pt x="104" y="129"/>
                    <a:pt x="81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9" name="Freeform 51"/>
            <p:cNvSpPr>
              <a:spLocks noEditPoints="1"/>
            </p:cNvSpPr>
            <p:nvPr/>
          </p:nvSpPr>
          <p:spPr bwMode="auto">
            <a:xfrm>
              <a:off x="8704263" y="-495301"/>
              <a:ext cx="92075" cy="128588"/>
            </a:xfrm>
            <a:custGeom>
              <a:avLst/>
              <a:gdLst>
                <a:gd name="T0" fmla="*/ 55 w 102"/>
                <a:gd name="T1" fmla="*/ 89 h 143"/>
                <a:gd name="T2" fmla="*/ 55 w 102"/>
                <a:gd name="T3" fmla="*/ 89 h 143"/>
                <a:gd name="T4" fmla="*/ 27 w 102"/>
                <a:gd name="T5" fmla="*/ 89 h 143"/>
                <a:gd name="T6" fmla="*/ 27 w 102"/>
                <a:gd name="T7" fmla="*/ 143 h 143"/>
                <a:gd name="T8" fmla="*/ 0 w 102"/>
                <a:gd name="T9" fmla="*/ 143 h 143"/>
                <a:gd name="T10" fmla="*/ 0 w 102"/>
                <a:gd name="T11" fmla="*/ 0 h 143"/>
                <a:gd name="T12" fmla="*/ 55 w 102"/>
                <a:gd name="T13" fmla="*/ 0 h 143"/>
                <a:gd name="T14" fmla="*/ 102 w 102"/>
                <a:gd name="T15" fmla="*/ 45 h 143"/>
                <a:gd name="T16" fmla="*/ 55 w 102"/>
                <a:gd name="T17" fmla="*/ 89 h 143"/>
                <a:gd name="T18" fmla="*/ 53 w 102"/>
                <a:gd name="T19" fmla="*/ 25 h 143"/>
                <a:gd name="T20" fmla="*/ 53 w 102"/>
                <a:gd name="T21" fmla="*/ 25 h 143"/>
                <a:gd name="T22" fmla="*/ 27 w 102"/>
                <a:gd name="T23" fmla="*/ 25 h 143"/>
                <a:gd name="T24" fmla="*/ 27 w 102"/>
                <a:gd name="T25" fmla="*/ 64 h 143"/>
                <a:gd name="T26" fmla="*/ 53 w 102"/>
                <a:gd name="T27" fmla="*/ 64 h 143"/>
                <a:gd name="T28" fmla="*/ 74 w 102"/>
                <a:gd name="T29" fmla="*/ 45 h 143"/>
                <a:gd name="T30" fmla="*/ 53 w 102"/>
                <a:gd name="T31" fmla="*/ 2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2" h="143">
                  <a:moveTo>
                    <a:pt x="55" y="89"/>
                  </a:moveTo>
                  <a:lnTo>
                    <a:pt x="55" y="89"/>
                  </a:lnTo>
                  <a:lnTo>
                    <a:pt x="27" y="89"/>
                  </a:lnTo>
                  <a:lnTo>
                    <a:pt x="27" y="143"/>
                  </a:lnTo>
                  <a:lnTo>
                    <a:pt x="0" y="143"/>
                  </a:lnTo>
                  <a:lnTo>
                    <a:pt x="0" y="0"/>
                  </a:lnTo>
                  <a:lnTo>
                    <a:pt x="55" y="0"/>
                  </a:lnTo>
                  <a:cubicBezTo>
                    <a:pt x="84" y="0"/>
                    <a:pt x="102" y="20"/>
                    <a:pt x="102" y="45"/>
                  </a:cubicBezTo>
                  <a:cubicBezTo>
                    <a:pt x="102" y="69"/>
                    <a:pt x="84" y="89"/>
                    <a:pt x="55" y="89"/>
                  </a:cubicBezTo>
                  <a:close/>
                  <a:moveTo>
                    <a:pt x="53" y="25"/>
                  </a:moveTo>
                  <a:lnTo>
                    <a:pt x="53" y="25"/>
                  </a:lnTo>
                  <a:lnTo>
                    <a:pt x="27" y="25"/>
                  </a:lnTo>
                  <a:lnTo>
                    <a:pt x="27" y="64"/>
                  </a:lnTo>
                  <a:lnTo>
                    <a:pt x="53" y="64"/>
                  </a:lnTo>
                  <a:cubicBezTo>
                    <a:pt x="66" y="64"/>
                    <a:pt x="74" y="56"/>
                    <a:pt x="74" y="45"/>
                  </a:cubicBezTo>
                  <a:cubicBezTo>
                    <a:pt x="74" y="33"/>
                    <a:pt x="66" y="25"/>
                    <a:pt x="53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0" name="Freeform 52"/>
            <p:cNvSpPr>
              <a:spLocks noEditPoints="1"/>
            </p:cNvSpPr>
            <p:nvPr/>
          </p:nvSpPr>
          <p:spPr bwMode="auto">
            <a:xfrm>
              <a:off x="8813800" y="-496888"/>
              <a:ext cx="93663" cy="130175"/>
            </a:xfrm>
            <a:custGeom>
              <a:avLst/>
              <a:gdLst>
                <a:gd name="T0" fmla="*/ 91 w 106"/>
                <a:gd name="T1" fmla="*/ 129 h 145"/>
                <a:gd name="T2" fmla="*/ 91 w 106"/>
                <a:gd name="T3" fmla="*/ 129 h 145"/>
                <a:gd name="T4" fmla="*/ 53 w 106"/>
                <a:gd name="T5" fmla="*/ 145 h 145"/>
                <a:gd name="T6" fmla="*/ 14 w 106"/>
                <a:gd name="T7" fmla="*/ 129 h 145"/>
                <a:gd name="T8" fmla="*/ 0 w 106"/>
                <a:gd name="T9" fmla="*/ 72 h 145"/>
                <a:gd name="T10" fmla="*/ 14 w 106"/>
                <a:gd name="T11" fmla="*/ 16 h 145"/>
                <a:gd name="T12" fmla="*/ 53 w 106"/>
                <a:gd name="T13" fmla="*/ 0 h 145"/>
                <a:gd name="T14" fmla="*/ 91 w 106"/>
                <a:gd name="T15" fmla="*/ 16 h 145"/>
                <a:gd name="T16" fmla="*/ 105 w 106"/>
                <a:gd name="T17" fmla="*/ 72 h 145"/>
                <a:gd name="T18" fmla="*/ 91 w 106"/>
                <a:gd name="T19" fmla="*/ 129 h 145"/>
                <a:gd name="T20" fmla="*/ 71 w 106"/>
                <a:gd name="T21" fmla="*/ 32 h 145"/>
                <a:gd name="T22" fmla="*/ 71 w 106"/>
                <a:gd name="T23" fmla="*/ 32 h 145"/>
                <a:gd name="T24" fmla="*/ 53 w 106"/>
                <a:gd name="T25" fmla="*/ 25 h 145"/>
                <a:gd name="T26" fmla="*/ 35 w 106"/>
                <a:gd name="T27" fmla="*/ 32 h 145"/>
                <a:gd name="T28" fmla="*/ 28 w 106"/>
                <a:gd name="T29" fmla="*/ 72 h 145"/>
                <a:gd name="T30" fmla="*/ 35 w 106"/>
                <a:gd name="T31" fmla="*/ 112 h 145"/>
                <a:gd name="T32" fmla="*/ 53 w 106"/>
                <a:gd name="T33" fmla="*/ 120 h 145"/>
                <a:gd name="T34" fmla="*/ 71 w 106"/>
                <a:gd name="T35" fmla="*/ 112 h 145"/>
                <a:gd name="T36" fmla="*/ 78 w 106"/>
                <a:gd name="T37" fmla="*/ 72 h 145"/>
                <a:gd name="T38" fmla="*/ 71 w 106"/>
                <a:gd name="T39" fmla="*/ 32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6" h="145">
                  <a:moveTo>
                    <a:pt x="91" y="129"/>
                  </a:moveTo>
                  <a:lnTo>
                    <a:pt x="91" y="129"/>
                  </a:lnTo>
                  <a:cubicBezTo>
                    <a:pt x="81" y="139"/>
                    <a:pt x="69" y="145"/>
                    <a:pt x="53" y="145"/>
                  </a:cubicBezTo>
                  <a:cubicBezTo>
                    <a:pt x="37" y="145"/>
                    <a:pt x="24" y="139"/>
                    <a:pt x="14" y="129"/>
                  </a:cubicBezTo>
                  <a:cubicBezTo>
                    <a:pt x="0" y="115"/>
                    <a:pt x="0" y="97"/>
                    <a:pt x="0" y="72"/>
                  </a:cubicBezTo>
                  <a:cubicBezTo>
                    <a:pt x="0" y="48"/>
                    <a:pt x="0" y="30"/>
                    <a:pt x="14" y="16"/>
                  </a:cubicBezTo>
                  <a:cubicBezTo>
                    <a:pt x="24" y="6"/>
                    <a:pt x="37" y="0"/>
                    <a:pt x="53" y="0"/>
                  </a:cubicBezTo>
                  <a:cubicBezTo>
                    <a:pt x="69" y="0"/>
                    <a:pt x="81" y="6"/>
                    <a:pt x="91" y="16"/>
                  </a:cubicBezTo>
                  <a:cubicBezTo>
                    <a:pt x="106" y="30"/>
                    <a:pt x="105" y="48"/>
                    <a:pt x="105" y="72"/>
                  </a:cubicBezTo>
                  <a:cubicBezTo>
                    <a:pt x="105" y="97"/>
                    <a:pt x="106" y="115"/>
                    <a:pt x="91" y="129"/>
                  </a:cubicBezTo>
                  <a:close/>
                  <a:moveTo>
                    <a:pt x="71" y="32"/>
                  </a:moveTo>
                  <a:lnTo>
                    <a:pt x="71" y="32"/>
                  </a:lnTo>
                  <a:cubicBezTo>
                    <a:pt x="67" y="28"/>
                    <a:pt x="60" y="25"/>
                    <a:pt x="53" y="25"/>
                  </a:cubicBezTo>
                  <a:cubicBezTo>
                    <a:pt x="45" y="25"/>
                    <a:pt x="39" y="28"/>
                    <a:pt x="35" y="32"/>
                  </a:cubicBezTo>
                  <a:cubicBezTo>
                    <a:pt x="29" y="38"/>
                    <a:pt x="28" y="45"/>
                    <a:pt x="28" y="72"/>
                  </a:cubicBezTo>
                  <a:cubicBezTo>
                    <a:pt x="28" y="100"/>
                    <a:pt x="29" y="106"/>
                    <a:pt x="35" y="112"/>
                  </a:cubicBezTo>
                  <a:cubicBezTo>
                    <a:pt x="39" y="117"/>
                    <a:pt x="45" y="120"/>
                    <a:pt x="53" y="120"/>
                  </a:cubicBezTo>
                  <a:cubicBezTo>
                    <a:pt x="60" y="120"/>
                    <a:pt x="67" y="117"/>
                    <a:pt x="71" y="112"/>
                  </a:cubicBezTo>
                  <a:cubicBezTo>
                    <a:pt x="76" y="106"/>
                    <a:pt x="78" y="100"/>
                    <a:pt x="78" y="72"/>
                  </a:cubicBezTo>
                  <a:cubicBezTo>
                    <a:pt x="78" y="45"/>
                    <a:pt x="76" y="38"/>
                    <a:pt x="71" y="3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1" name="Freeform 53"/>
            <p:cNvSpPr>
              <a:spLocks/>
            </p:cNvSpPr>
            <p:nvPr/>
          </p:nvSpPr>
          <p:spPr bwMode="auto">
            <a:xfrm>
              <a:off x="8921750" y="-496888"/>
              <a:ext cx="93663" cy="130175"/>
            </a:xfrm>
            <a:custGeom>
              <a:avLst/>
              <a:gdLst>
                <a:gd name="T0" fmla="*/ 52 w 105"/>
                <a:gd name="T1" fmla="*/ 145 h 145"/>
                <a:gd name="T2" fmla="*/ 52 w 105"/>
                <a:gd name="T3" fmla="*/ 145 h 145"/>
                <a:gd name="T4" fmla="*/ 0 w 105"/>
                <a:gd name="T5" fmla="*/ 126 h 145"/>
                <a:gd name="T6" fmla="*/ 18 w 105"/>
                <a:gd name="T7" fmla="*/ 108 h 145"/>
                <a:gd name="T8" fmla="*/ 53 w 105"/>
                <a:gd name="T9" fmla="*/ 120 h 145"/>
                <a:gd name="T10" fmla="*/ 78 w 105"/>
                <a:gd name="T11" fmla="*/ 102 h 145"/>
                <a:gd name="T12" fmla="*/ 74 w 105"/>
                <a:gd name="T13" fmla="*/ 90 h 145"/>
                <a:gd name="T14" fmla="*/ 61 w 105"/>
                <a:gd name="T15" fmla="*/ 85 h 145"/>
                <a:gd name="T16" fmla="*/ 44 w 105"/>
                <a:gd name="T17" fmla="*/ 83 h 145"/>
                <a:gd name="T18" fmla="*/ 16 w 105"/>
                <a:gd name="T19" fmla="*/ 71 h 145"/>
                <a:gd name="T20" fmla="*/ 6 w 105"/>
                <a:gd name="T21" fmla="*/ 43 h 145"/>
                <a:gd name="T22" fmla="*/ 56 w 105"/>
                <a:gd name="T23" fmla="*/ 0 h 145"/>
                <a:gd name="T24" fmla="*/ 102 w 105"/>
                <a:gd name="T25" fmla="*/ 17 h 145"/>
                <a:gd name="T26" fmla="*/ 84 w 105"/>
                <a:gd name="T27" fmla="*/ 34 h 145"/>
                <a:gd name="T28" fmla="*/ 55 w 105"/>
                <a:gd name="T29" fmla="*/ 24 h 145"/>
                <a:gd name="T30" fmla="*/ 33 w 105"/>
                <a:gd name="T31" fmla="*/ 42 h 145"/>
                <a:gd name="T32" fmla="*/ 37 w 105"/>
                <a:gd name="T33" fmla="*/ 52 h 145"/>
                <a:gd name="T34" fmla="*/ 50 w 105"/>
                <a:gd name="T35" fmla="*/ 58 h 145"/>
                <a:gd name="T36" fmla="*/ 67 w 105"/>
                <a:gd name="T37" fmla="*/ 60 h 145"/>
                <a:gd name="T38" fmla="*/ 94 w 105"/>
                <a:gd name="T39" fmla="*/ 71 h 145"/>
                <a:gd name="T40" fmla="*/ 105 w 105"/>
                <a:gd name="T41" fmla="*/ 102 h 145"/>
                <a:gd name="T42" fmla="*/ 52 w 105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5" h="145">
                  <a:moveTo>
                    <a:pt x="52" y="145"/>
                  </a:moveTo>
                  <a:lnTo>
                    <a:pt x="52" y="145"/>
                  </a:lnTo>
                  <a:cubicBezTo>
                    <a:pt x="31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40" y="120"/>
                    <a:pt x="53" y="120"/>
                  </a:cubicBezTo>
                  <a:cubicBezTo>
                    <a:pt x="69" y="120"/>
                    <a:pt x="78" y="114"/>
                    <a:pt x="78" y="102"/>
                  </a:cubicBezTo>
                  <a:cubicBezTo>
                    <a:pt x="78" y="97"/>
                    <a:pt x="77" y="93"/>
                    <a:pt x="74" y="90"/>
                  </a:cubicBezTo>
                  <a:cubicBezTo>
                    <a:pt x="71" y="88"/>
                    <a:pt x="68" y="86"/>
                    <a:pt x="61" y="85"/>
                  </a:cubicBezTo>
                  <a:lnTo>
                    <a:pt x="44" y="83"/>
                  </a:lnTo>
                  <a:cubicBezTo>
                    <a:pt x="32" y="81"/>
                    <a:pt x="23" y="77"/>
                    <a:pt x="16" y="71"/>
                  </a:cubicBezTo>
                  <a:cubicBezTo>
                    <a:pt x="9" y="65"/>
                    <a:pt x="6" y="55"/>
                    <a:pt x="6" y="43"/>
                  </a:cubicBezTo>
                  <a:cubicBezTo>
                    <a:pt x="6" y="18"/>
                    <a:pt x="25" y="0"/>
                    <a:pt x="56" y="0"/>
                  </a:cubicBezTo>
                  <a:cubicBezTo>
                    <a:pt x="75" y="0"/>
                    <a:pt x="89" y="5"/>
                    <a:pt x="102" y="17"/>
                  </a:cubicBezTo>
                  <a:lnTo>
                    <a:pt x="84" y="34"/>
                  </a:lnTo>
                  <a:cubicBezTo>
                    <a:pt x="75" y="26"/>
                    <a:pt x="64" y="24"/>
                    <a:pt x="55" y="24"/>
                  </a:cubicBezTo>
                  <a:cubicBezTo>
                    <a:pt x="40" y="24"/>
                    <a:pt x="33" y="32"/>
                    <a:pt x="33" y="42"/>
                  </a:cubicBezTo>
                  <a:cubicBezTo>
                    <a:pt x="33" y="46"/>
                    <a:pt x="34" y="50"/>
                    <a:pt x="37" y="52"/>
                  </a:cubicBezTo>
                  <a:cubicBezTo>
                    <a:pt x="40" y="55"/>
                    <a:pt x="44" y="57"/>
                    <a:pt x="50" y="58"/>
                  </a:cubicBezTo>
                  <a:lnTo>
                    <a:pt x="67" y="60"/>
                  </a:lnTo>
                  <a:cubicBezTo>
                    <a:pt x="80" y="62"/>
                    <a:pt x="88" y="66"/>
                    <a:pt x="94" y="71"/>
                  </a:cubicBezTo>
                  <a:cubicBezTo>
                    <a:pt x="102" y="79"/>
                    <a:pt x="105" y="89"/>
                    <a:pt x="105" y="102"/>
                  </a:cubicBezTo>
                  <a:cubicBezTo>
                    <a:pt x="105" y="129"/>
                    <a:pt x="82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2" name="Freeform 54"/>
            <p:cNvSpPr>
              <a:spLocks noEditPoints="1"/>
            </p:cNvSpPr>
            <p:nvPr/>
          </p:nvSpPr>
          <p:spPr bwMode="auto">
            <a:xfrm>
              <a:off x="9024938" y="-495301"/>
              <a:ext cx="112713" cy="128588"/>
            </a:xfrm>
            <a:custGeom>
              <a:avLst/>
              <a:gdLst>
                <a:gd name="T0" fmla="*/ 97 w 126"/>
                <a:gd name="T1" fmla="*/ 143 h 143"/>
                <a:gd name="T2" fmla="*/ 97 w 126"/>
                <a:gd name="T3" fmla="*/ 143 h 143"/>
                <a:gd name="T4" fmla="*/ 89 w 126"/>
                <a:gd name="T5" fmla="*/ 117 h 143"/>
                <a:gd name="T6" fmla="*/ 38 w 126"/>
                <a:gd name="T7" fmla="*/ 117 h 143"/>
                <a:gd name="T8" fmla="*/ 29 w 126"/>
                <a:gd name="T9" fmla="*/ 143 h 143"/>
                <a:gd name="T10" fmla="*/ 0 w 126"/>
                <a:gd name="T11" fmla="*/ 143 h 143"/>
                <a:gd name="T12" fmla="*/ 52 w 126"/>
                <a:gd name="T13" fmla="*/ 0 h 143"/>
                <a:gd name="T14" fmla="*/ 74 w 126"/>
                <a:gd name="T15" fmla="*/ 0 h 143"/>
                <a:gd name="T16" fmla="*/ 126 w 126"/>
                <a:gd name="T17" fmla="*/ 143 h 143"/>
                <a:gd name="T18" fmla="*/ 97 w 126"/>
                <a:gd name="T19" fmla="*/ 143 h 143"/>
                <a:gd name="T20" fmla="*/ 64 w 126"/>
                <a:gd name="T21" fmla="*/ 42 h 143"/>
                <a:gd name="T22" fmla="*/ 64 w 126"/>
                <a:gd name="T23" fmla="*/ 42 h 143"/>
                <a:gd name="T24" fmla="*/ 46 w 126"/>
                <a:gd name="T25" fmla="*/ 94 h 143"/>
                <a:gd name="T26" fmla="*/ 81 w 126"/>
                <a:gd name="T27" fmla="*/ 94 h 143"/>
                <a:gd name="T28" fmla="*/ 64 w 126"/>
                <a:gd name="T29" fmla="*/ 4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6" h="143">
                  <a:moveTo>
                    <a:pt x="97" y="143"/>
                  </a:moveTo>
                  <a:lnTo>
                    <a:pt x="97" y="143"/>
                  </a:lnTo>
                  <a:lnTo>
                    <a:pt x="89" y="117"/>
                  </a:lnTo>
                  <a:lnTo>
                    <a:pt x="38" y="117"/>
                  </a:lnTo>
                  <a:lnTo>
                    <a:pt x="29" y="143"/>
                  </a:lnTo>
                  <a:lnTo>
                    <a:pt x="0" y="143"/>
                  </a:lnTo>
                  <a:lnTo>
                    <a:pt x="52" y="0"/>
                  </a:lnTo>
                  <a:lnTo>
                    <a:pt x="74" y="0"/>
                  </a:lnTo>
                  <a:lnTo>
                    <a:pt x="126" y="143"/>
                  </a:lnTo>
                  <a:lnTo>
                    <a:pt x="97" y="143"/>
                  </a:lnTo>
                  <a:close/>
                  <a:moveTo>
                    <a:pt x="64" y="42"/>
                  </a:moveTo>
                  <a:lnTo>
                    <a:pt x="64" y="42"/>
                  </a:lnTo>
                  <a:lnTo>
                    <a:pt x="46" y="94"/>
                  </a:lnTo>
                  <a:lnTo>
                    <a:pt x="81" y="94"/>
                  </a:lnTo>
                  <a:lnTo>
                    <a:pt x="64" y="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3" name="Freeform 55"/>
            <p:cNvSpPr>
              <a:spLocks/>
            </p:cNvSpPr>
            <p:nvPr/>
          </p:nvSpPr>
          <p:spPr bwMode="auto">
            <a:xfrm>
              <a:off x="9155113" y="-495301"/>
              <a:ext cx="82550" cy="128588"/>
            </a:xfrm>
            <a:custGeom>
              <a:avLst/>
              <a:gdLst>
                <a:gd name="T0" fmla="*/ 0 w 92"/>
                <a:gd name="T1" fmla="*/ 0 h 143"/>
                <a:gd name="T2" fmla="*/ 0 w 92"/>
                <a:gd name="T3" fmla="*/ 0 h 143"/>
                <a:gd name="T4" fmla="*/ 0 w 92"/>
                <a:gd name="T5" fmla="*/ 143 h 143"/>
                <a:gd name="T6" fmla="*/ 92 w 92"/>
                <a:gd name="T7" fmla="*/ 143 h 143"/>
                <a:gd name="T8" fmla="*/ 92 w 92"/>
                <a:gd name="T9" fmla="*/ 118 h 143"/>
                <a:gd name="T10" fmla="*/ 28 w 92"/>
                <a:gd name="T11" fmla="*/ 118 h 143"/>
                <a:gd name="T12" fmla="*/ 28 w 92"/>
                <a:gd name="T13" fmla="*/ 0 h 143"/>
                <a:gd name="T14" fmla="*/ 0 w 92"/>
                <a:gd name="T1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143">
                  <a:moveTo>
                    <a:pt x="0" y="0"/>
                  </a:moveTo>
                  <a:lnTo>
                    <a:pt x="0" y="0"/>
                  </a:lnTo>
                  <a:lnTo>
                    <a:pt x="0" y="143"/>
                  </a:lnTo>
                  <a:lnTo>
                    <a:pt x="92" y="143"/>
                  </a:lnTo>
                  <a:lnTo>
                    <a:pt x="92" y="118"/>
                  </a:lnTo>
                  <a:lnTo>
                    <a:pt x="28" y="118"/>
                  </a:lnTo>
                  <a:lnTo>
                    <a:pt x="2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37" name="Chevrons"/>
          <p:cNvGrpSpPr/>
          <p:nvPr/>
        </p:nvGrpSpPr>
        <p:grpSpPr>
          <a:xfrm>
            <a:off x="7155497" y="1653488"/>
            <a:ext cx="215175" cy="74486"/>
            <a:chOff x="2177378" y="401620"/>
            <a:chExt cx="264150" cy="91440"/>
          </a:xfrm>
          <a:solidFill>
            <a:schemeClr val="accent5"/>
          </a:solidFill>
        </p:grpSpPr>
        <p:sp>
          <p:nvSpPr>
            <p:cNvPr id="367" name="Chevron 366"/>
            <p:cNvSpPr/>
            <p:nvPr/>
          </p:nvSpPr>
          <p:spPr>
            <a:xfrm>
              <a:off x="2177378" y="401620"/>
              <a:ext cx="91440" cy="9144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8" name="Chevron 367"/>
            <p:cNvSpPr/>
            <p:nvPr/>
          </p:nvSpPr>
          <p:spPr>
            <a:xfrm>
              <a:off x="2263733" y="401620"/>
              <a:ext cx="91440" cy="9144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9" name="Chevron 368"/>
            <p:cNvSpPr/>
            <p:nvPr/>
          </p:nvSpPr>
          <p:spPr>
            <a:xfrm>
              <a:off x="2350088" y="401620"/>
              <a:ext cx="91440" cy="9144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0" name="Treatment Tan"/>
          <p:cNvGrpSpPr/>
          <p:nvPr/>
        </p:nvGrpSpPr>
        <p:grpSpPr>
          <a:xfrm>
            <a:off x="5845671" y="1464750"/>
            <a:ext cx="1280160" cy="2926081"/>
            <a:chOff x="5845671" y="1464750"/>
            <a:chExt cx="1280160" cy="2926081"/>
          </a:xfrm>
        </p:grpSpPr>
        <p:sp>
          <p:nvSpPr>
            <p:cNvPr id="135" name="Treatment Tan"/>
            <p:cNvSpPr/>
            <p:nvPr/>
          </p:nvSpPr>
          <p:spPr>
            <a:xfrm>
              <a:off x="5845671" y="1464750"/>
              <a:ext cx="1280160" cy="2926081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38" name="Treatment"/>
            <p:cNvGrpSpPr/>
            <p:nvPr/>
          </p:nvGrpSpPr>
          <p:grpSpPr>
            <a:xfrm>
              <a:off x="6076463" y="1638358"/>
              <a:ext cx="818577" cy="104746"/>
              <a:chOff x="5437188" y="-819151"/>
              <a:chExt cx="1004888" cy="128588"/>
            </a:xfrm>
            <a:solidFill>
              <a:schemeClr val="accent5">
                <a:lumMod val="75000"/>
              </a:schemeClr>
            </a:solidFill>
          </p:grpSpPr>
          <p:sp>
            <p:nvSpPr>
              <p:cNvPr id="358" name="Freeform 33"/>
              <p:cNvSpPr>
                <a:spLocks/>
              </p:cNvSpPr>
              <p:nvPr/>
            </p:nvSpPr>
            <p:spPr bwMode="auto">
              <a:xfrm>
                <a:off x="5437188" y="-819151"/>
                <a:ext cx="92075" cy="128588"/>
              </a:xfrm>
              <a:custGeom>
                <a:avLst/>
                <a:gdLst>
                  <a:gd name="T0" fmla="*/ 65 w 102"/>
                  <a:gd name="T1" fmla="*/ 25 h 142"/>
                  <a:gd name="T2" fmla="*/ 65 w 102"/>
                  <a:gd name="T3" fmla="*/ 25 h 142"/>
                  <a:gd name="T4" fmla="*/ 65 w 102"/>
                  <a:gd name="T5" fmla="*/ 142 h 142"/>
                  <a:gd name="T6" fmla="*/ 37 w 102"/>
                  <a:gd name="T7" fmla="*/ 142 h 142"/>
                  <a:gd name="T8" fmla="*/ 37 w 102"/>
                  <a:gd name="T9" fmla="*/ 25 h 142"/>
                  <a:gd name="T10" fmla="*/ 0 w 102"/>
                  <a:gd name="T11" fmla="*/ 25 h 142"/>
                  <a:gd name="T12" fmla="*/ 0 w 102"/>
                  <a:gd name="T13" fmla="*/ 0 h 142"/>
                  <a:gd name="T14" fmla="*/ 102 w 102"/>
                  <a:gd name="T15" fmla="*/ 0 h 142"/>
                  <a:gd name="T16" fmla="*/ 102 w 102"/>
                  <a:gd name="T17" fmla="*/ 25 h 142"/>
                  <a:gd name="T18" fmla="*/ 65 w 102"/>
                  <a:gd name="T19" fmla="*/ 25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42">
                    <a:moveTo>
                      <a:pt x="65" y="25"/>
                    </a:moveTo>
                    <a:lnTo>
                      <a:pt x="65" y="25"/>
                    </a:lnTo>
                    <a:lnTo>
                      <a:pt x="65" y="142"/>
                    </a:lnTo>
                    <a:lnTo>
                      <a:pt x="37" y="142"/>
                    </a:lnTo>
                    <a:lnTo>
                      <a:pt x="37" y="25"/>
                    </a:lnTo>
                    <a:lnTo>
                      <a:pt x="0" y="25"/>
                    </a:lnTo>
                    <a:lnTo>
                      <a:pt x="0" y="0"/>
                    </a:lnTo>
                    <a:lnTo>
                      <a:pt x="102" y="0"/>
                    </a:lnTo>
                    <a:lnTo>
                      <a:pt x="102" y="25"/>
                    </a:lnTo>
                    <a:lnTo>
                      <a:pt x="65" y="2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9" name="Freeform 34"/>
              <p:cNvSpPr>
                <a:spLocks noEditPoints="1"/>
              </p:cNvSpPr>
              <p:nvPr/>
            </p:nvSpPr>
            <p:spPr bwMode="auto">
              <a:xfrm>
                <a:off x="5549900" y="-819151"/>
                <a:ext cx="95250" cy="128588"/>
              </a:xfrm>
              <a:custGeom>
                <a:avLst/>
                <a:gdLst>
                  <a:gd name="T0" fmla="*/ 76 w 108"/>
                  <a:gd name="T1" fmla="*/ 142 h 142"/>
                  <a:gd name="T2" fmla="*/ 76 w 108"/>
                  <a:gd name="T3" fmla="*/ 142 h 142"/>
                  <a:gd name="T4" fmla="*/ 48 w 108"/>
                  <a:gd name="T5" fmla="*/ 86 h 142"/>
                  <a:gd name="T6" fmla="*/ 28 w 108"/>
                  <a:gd name="T7" fmla="*/ 86 h 142"/>
                  <a:gd name="T8" fmla="*/ 28 w 108"/>
                  <a:gd name="T9" fmla="*/ 142 h 142"/>
                  <a:gd name="T10" fmla="*/ 0 w 108"/>
                  <a:gd name="T11" fmla="*/ 142 h 142"/>
                  <a:gd name="T12" fmla="*/ 0 w 108"/>
                  <a:gd name="T13" fmla="*/ 0 h 142"/>
                  <a:gd name="T14" fmla="*/ 56 w 108"/>
                  <a:gd name="T15" fmla="*/ 0 h 142"/>
                  <a:gd name="T16" fmla="*/ 102 w 108"/>
                  <a:gd name="T17" fmla="*/ 44 h 142"/>
                  <a:gd name="T18" fmla="*/ 76 w 108"/>
                  <a:gd name="T19" fmla="*/ 81 h 142"/>
                  <a:gd name="T20" fmla="*/ 108 w 108"/>
                  <a:gd name="T21" fmla="*/ 142 h 142"/>
                  <a:gd name="T22" fmla="*/ 76 w 108"/>
                  <a:gd name="T23" fmla="*/ 142 h 142"/>
                  <a:gd name="T24" fmla="*/ 54 w 108"/>
                  <a:gd name="T25" fmla="*/ 25 h 142"/>
                  <a:gd name="T26" fmla="*/ 54 w 108"/>
                  <a:gd name="T27" fmla="*/ 25 h 142"/>
                  <a:gd name="T28" fmla="*/ 28 w 108"/>
                  <a:gd name="T29" fmla="*/ 25 h 142"/>
                  <a:gd name="T30" fmla="*/ 28 w 108"/>
                  <a:gd name="T31" fmla="*/ 62 h 142"/>
                  <a:gd name="T32" fmla="*/ 54 w 108"/>
                  <a:gd name="T33" fmla="*/ 62 h 142"/>
                  <a:gd name="T34" fmla="*/ 74 w 108"/>
                  <a:gd name="T35" fmla="*/ 44 h 142"/>
                  <a:gd name="T36" fmla="*/ 54 w 108"/>
                  <a:gd name="T37" fmla="*/ 25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8" h="142">
                    <a:moveTo>
                      <a:pt x="76" y="142"/>
                    </a:moveTo>
                    <a:lnTo>
                      <a:pt x="76" y="142"/>
                    </a:lnTo>
                    <a:lnTo>
                      <a:pt x="48" y="86"/>
                    </a:lnTo>
                    <a:lnTo>
                      <a:pt x="28" y="86"/>
                    </a:lnTo>
                    <a:lnTo>
                      <a:pt x="28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56" y="0"/>
                    </a:lnTo>
                    <a:cubicBezTo>
                      <a:pt x="85" y="0"/>
                      <a:pt x="102" y="20"/>
                      <a:pt x="102" y="44"/>
                    </a:cubicBezTo>
                    <a:cubicBezTo>
                      <a:pt x="102" y="64"/>
                      <a:pt x="90" y="76"/>
                      <a:pt x="76" y="81"/>
                    </a:cubicBezTo>
                    <a:lnTo>
                      <a:pt x="108" y="142"/>
                    </a:lnTo>
                    <a:lnTo>
                      <a:pt x="76" y="142"/>
                    </a:lnTo>
                    <a:close/>
                    <a:moveTo>
                      <a:pt x="54" y="25"/>
                    </a:moveTo>
                    <a:lnTo>
                      <a:pt x="54" y="25"/>
                    </a:lnTo>
                    <a:lnTo>
                      <a:pt x="28" y="25"/>
                    </a:lnTo>
                    <a:lnTo>
                      <a:pt x="28" y="62"/>
                    </a:lnTo>
                    <a:lnTo>
                      <a:pt x="54" y="62"/>
                    </a:lnTo>
                    <a:cubicBezTo>
                      <a:pt x="66" y="62"/>
                      <a:pt x="74" y="55"/>
                      <a:pt x="74" y="44"/>
                    </a:cubicBezTo>
                    <a:cubicBezTo>
                      <a:pt x="74" y="33"/>
                      <a:pt x="66" y="25"/>
                      <a:pt x="54" y="2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0" name="Freeform 35"/>
              <p:cNvSpPr>
                <a:spLocks/>
              </p:cNvSpPr>
              <p:nvPr/>
            </p:nvSpPr>
            <p:spPr bwMode="auto">
              <a:xfrm>
                <a:off x="5665788" y="-819151"/>
                <a:ext cx="82550" cy="128588"/>
              </a:xfrm>
              <a:custGeom>
                <a:avLst/>
                <a:gdLst>
                  <a:gd name="T0" fmla="*/ 0 w 93"/>
                  <a:gd name="T1" fmla="*/ 142 h 142"/>
                  <a:gd name="T2" fmla="*/ 0 w 93"/>
                  <a:gd name="T3" fmla="*/ 142 h 142"/>
                  <a:gd name="T4" fmla="*/ 0 w 93"/>
                  <a:gd name="T5" fmla="*/ 0 h 142"/>
                  <a:gd name="T6" fmla="*/ 93 w 93"/>
                  <a:gd name="T7" fmla="*/ 0 h 142"/>
                  <a:gd name="T8" fmla="*/ 93 w 93"/>
                  <a:gd name="T9" fmla="*/ 25 h 142"/>
                  <a:gd name="T10" fmla="*/ 27 w 93"/>
                  <a:gd name="T11" fmla="*/ 25 h 142"/>
                  <a:gd name="T12" fmla="*/ 27 w 93"/>
                  <a:gd name="T13" fmla="*/ 58 h 142"/>
                  <a:gd name="T14" fmla="*/ 84 w 93"/>
                  <a:gd name="T15" fmla="*/ 58 h 142"/>
                  <a:gd name="T16" fmla="*/ 84 w 93"/>
                  <a:gd name="T17" fmla="*/ 83 h 142"/>
                  <a:gd name="T18" fmla="*/ 27 w 93"/>
                  <a:gd name="T19" fmla="*/ 83 h 142"/>
                  <a:gd name="T20" fmla="*/ 27 w 93"/>
                  <a:gd name="T21" fmla="*/ 118 h 142"/>
                  <a:gd name="T22" fmla="*/ 93 w 93"/>
                  <a:gd name="T23" fmla="*/ 118 h 142"/>
                  <a:gd name="T24" fmla="*/ 93 w 93"/>
                  <a:gd name="T25" fmla="*/ 142 h 142"/>
                  <a:gd name="T26" fmla="*/ 0 w 93"/>
                  <a:gd name="T27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3" h="142">
                    <a:moveTo>
                      <a:pt x="0" y="142"/>
                    </a:moveTo>
                    <a:lnTo>
                      <a:pt x="0" y="142"/>
                    </a:lnTo>
                    <a:lnTo>
                      <a:pt x="0" y="0"/>
                    </a:lnTo>
                    <a:lnTo>
                      <a:pt x="93" y="0"/>
                    </a:lnTo>
                    <a:lnTo>
                      <a:pt x="93" y="25"/>
                    </a:lnTo>
                    <a:lnTo>
                      <a:pt x="27" y="25"/>
                    </a:lnTo>
                    <a:lnTo>
                      <a:pt x="27" y="58"/>
                    </a:lnTo>
                    <a:lnTo>
                      <a:pt x="84" y="58"/>
                    </a:lnTo>
                    <a:lnTo>
                      <a:pt x="84" y="83"/>
                    </a:lnTo>
                    <a:lnTo>
                      <a:pt x="27" y="83"/>
                    </a:lnTo>
                    <a:lnTo>
                      <a:pt x="27" y="118"/>
                    </a:lnTo>
                    <a:lnTo>
                      <a:pt x="93" y="118"/>
                    </a:lnTo>
                    <a:lnTo>
                      <a:pt x="93" y="142"/>
                    </a:lnTo>
                    <a:lnTo>
                      <a:pt x="0" y="14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1" name="Freeform 36"/>
              <p:cNvSpPr>
                <a:spLocks noEditPoints="1"/>
              </p:cNvSpPr>
              <p:nvPr/>
            </p:nvSpPr>
            <p:spPr bwMode="auto">
              <a:xfrm>
                <a:off x="5764213" y="-819151"/>
                <a:ext cx="112713" cy="128588"/>
              </a:xfrm>
              <a:custGeom>
                <a:avLst/>
                <a:gdLst>
                  <a:gd name="T0" fmla="*/ 97 w 126"/>
                  <a:gd name="T1" fmla="*/ 142 h 142"/>
                  <a:gd name="T2" fmla="*/ 97 w 126"/>
                  <a:gd name="T3" fmla="*/ 142 h 142"/>
                  <a:gd name="T4" fmla="*/ 89 w 126"/>
                  <a:gd name="T5" fmla="*/ 117 h 142"/>
                  <a:gd name="T6" fmla="*/ 38 w 126"/>
                  <a:gd name="T7" fmla="*/ 117 h 142"/>
                  <a:gd name="T8" fmla="*/ 29 w 126"/>
                  <a:gd name="T9" fmla="*/ 142 h 142"/>
                  <a:gd name="T10" fmla="*/ 0 w 126"/>
                  <a:gd name="T11" fmla="*/ 142 h 142"/>
                  <a:gd name="T12" fmla="*/ 52 w 126"/>
                  <a:gd name="T13" fmla="*/ 0 h 142"/>
                  <a:gd name="T14" fmla="*/ 74 w 126"/>
                  <a:gd name="T15" fmla="*/ 0 h 142"/>
                  <a:gd name="T16" fmla="*/ 126 w 126"/>
                  <a:gd name="T17" fmla="*/ 142 h 142"/>
                  <a:gd name="T18" fmla="*/ 97 w 126"/>
                  <a:gd name="T19" fmla="*/ 142 h 142"/>
                  <a:gd name="T20" fmla="*/ 64 w 126"/>
                  <a:gd name="T21" fmla="*/ 42 h 142"/>
                  <a:gd name="T22" fmla="*/ 64 w 126"/>
                  <a:gd name="T23" fmla="*/ 42 h 142"/>
                  <a:gd name="T24" fmla="*/ 46 w 126"/>
                  <a:gd name="T25" fmla="*/ 94 h 142"/>
                  <a:gd name="T26" fmla="*/ 81 w 126"/>
                  <a:gd name="T27" fmla="*/ 94 h 142"/>
                  <a:gd name="T28" fmla="*/ 64 w 126"/>
                  <a:gd name="T29" fmla="*/ 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6" h="142">
                    <a:moveTo>
                      <a:pt x="97" y="142"/>
                    </a:moveTo>
                    <a:lnTo>
                      <a:pt x="97" y="142"/>
                    </a:lnTo>
                    <a:lnTo>
                      <a:pt x="89" y="117"/>
                    </a:lnTo>
                    <a:lnTo>
                      <a:pt x="38" y="117"/>
                    </a:lnTo>
                    <a:lnTo>
                      <a:pt x="29" y="142"/>
                    </a:lnTo>
                    <a:lnTo>
                      <a:pt x="0" y="142"/>
                    </a:lnTo>
                    <a:lnTo>
                      <a:pt x="52" y="0"/>
                    </a:lnTo>
                    <a:lnTo>
                      <a:pt x="74" y="0"/>
                    </a:lnTo>
                    <a:lnTo>
                      <a:pt x="126" y="142"/>
                    </a:lnTo>
                    <a:lnTo>
                      <a:pt x="97" y="142"/>
                    </a:lnTo>
                    <a:close/>
                    <a:moveTo>
                      <a:pt x="64" y="42"/>
                    </a:moveTo>
                    <a:lnTo>
                      <a:pt x="64" y="42"/>
                    </a:lnTo>
                    <a:lnTo>
                      <a:pt x="46" y="94"/>
                    </a:lnTo>
                    <a:lnTo>
                      <a:pt x="81" y="94"/>
                    </a:lnTo>
                    <a:lnTo>
                      <a:pt x="64" y="4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2" name="Freeform 37"/>
              <p:cNvSpPr>
                <a:spLocks/>
              </p:cNvSpPr>
              <p:nvPr/>
            </p:nvSpPr>
            <p:spPr bwMode="auto">
              <a:xfrm>
                <a:off x="5872163" y="-819151"/>
                <a:ext cx="92075" cy="128588"/>
              </a:xfrm>
              <a:custGeom>
                <a:avLst/>
                <a:gdLst>
                  <a:gd name="T0" fmla="*/ 65 w 102"/>
                  <a:gd name="T1" fmla="*/ 25 h 142"/>
                  <a:gd name="T2" fmla="*/ 65 w 102"/>
                  <a:gd name="T3" fmla="*/ 25 h 142"/>
                  <a:gd name="T4" fmla="*/ 65 w 102"/>
                  <a:gd name="T5" fmla="*/ 142 h 142"/>
                  <a:gd name="T6" fmla="*/ 37 w 102"/>
                  <a:gd name="T7" fmla="*/ 142 h 142"/>
                  <a:gd name="T8" fmla="*/ 37 w 102"/>
                  <a:gd name="T9" fmla="*/ 25 h 142"/>
                  <a:gd name="T10" fmla="*/ 0 w 102"/>
                  <a:gd name="T11" fmla="*/ 25 h 142"/>
                  <a:gd name="T12" fmla="*/ 0 w 102"/>
                  <a:gd name="T13" fmla="*/ 0 h 142"/>
                  <a:gd name="T14" fmla="*/ 102 w 102"/>
                  <a:gd name="T15" fmla="*/ 0 h 142"/>
                  <a:gd name="T16" fmla="*/ 102 w 102"/>
                  <a:gd name="T17" fmla="*/ 25 h 142"/>
                  <a:gd name="T18" fmla="*/ 65 w 102"/>
                  <a:gd name="T19" fmla="*/ 25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42">
                    <a:moveTo>
                      <a:pt x="65" y="25"/>
                    </a:moveTo>
                    <a:lnTo>
                      <a:pt x="65" y="25"/>
                    </a:lnTo>
                    <a:lnTo>
                      <a:pt x="65" y="142"/>
                    </a:lnTo>
                    <a:lnTo>
                      <a:pt x="37" y="142"/>
                    </a:lnTo>
                    <a:lnTo>
                      <a:pt x="37" y="25"/>
                    </a:lnTo>
                    <a:lnTo>
                      <a:pt x="0" y="25"/>
                    </a:lnTo>
                    <a:lnTo>
                      <a:pt x="0" y="0"/>
                    </a:lnTo>
                    <a:lnTo>
                      <a:pt x="102" y="0"/>
                    </a:lnTo>
                    <a:lnTo>
                      <a:pt x="102" y="25"/>
                    </a:lnTo>
                    <a:lnTo>
                      <a:pt x="65" y="2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3" name="Freeform 38"/>
              <p:cNvSpPr>
                <a:spLocks/>
              </p:cNvSpPr>
              <p:nvPr/>
            </p:nvSpPr>
            <p:spPr bwMode="auto">
              <a:xfrm>
                <a:off x="5984875" y="-819151"/>
                <a:ext cx="114300" cy="128588"/>
              </a:xfrm>
              <a:custGeom>
                <a:avLst/>
                <a:gdLst>
                  <a:gd name="T0" fmla="*/ 101 w 129"/>
                  <a:gd name="T1" fmla="*/ 142 h 142"/>
                  <a:gd name="T2" fmla="*/ 101 w 129"/>
                  <a:gd name="T3" fmla="*/ 142 h 142"/>
                  <a:gd name="T4" fmla="*/ 101 w 129"/>
                  <a:gd name="T5" fmla="*/ 59 h 142"/>
                  <a:gd name="T6" fmla="*/ 74 w 129"/>
                  <a:gd name="T7" fmla="*/ 113 h 142"/>
                  <a:gd name="T8" fmla="*/ 55 w 129"/>
                  <a:gd name="T9" fmla="*/ 113 h 142"/>
                  <a:gd name="T10" fmla="*/ 27 w 129"/>
                  <a:gd name="T11" fmla="*/ 59 h 142"/>
                  <a:gd name="T12" fmla="*/ 27 w 129"/>
                  <a:gd name="T13" fmla="*/ 142 h 142"/>
                  <a:gd name="T14" fmla="*/ 0 w 129"/>
                  <a:gd name="T15" fmla="*/ 142 h 142"/>
                  <a:gd name="T16" fmla="*/ 0 w 129"/>
                  <a:gd name="T17" fmla="*/ 0 h 142"/>
                  <a:gd name="T18" fmla="*/ 27 w 129"/>
                  <a:gd name="T19" fmla="*/ 0 h 142"/>
                  <a:gd name="T20" fmla="*/ 64 w 129"/>
                  <a:gd name="T21" fmla="*/ 77 h 142"/>
                  <a:gd name="T22" fmla="*/ 101 w 129"/>
                  <a:gd name="T23" fmla="*/ 0 h 142"/>
                  <a:gd name="T24" fmla="*/ 129 w 129"/>
                  <a:gd name="T25" fmla="*/ 0 h 142"/>
                  <a:gd name="T26" fmla="*/ 129 w 129"/>
                  <a:gd name="T27" fmla="*/ 142 h 142"/>
                  <a:gd name="T28" fmla="*/ 101 w 129"/>
                  <a:gd name="T29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9" h="142">
                    <a:moveTo>
                      <a:pt x="101" y="142"/>
                    </a:moveTo>
                    <a:lnTo>
                      <a:pt x="101" y="142"/>
                    </a:lnTo>
                    <a:lnTo>
                      <a:pt x="101" y="59"/>
                    </a:lnTo>
                    <a:lnTo>
                      <a:pt x="74" y="113"/>
                    </a:lnTo>
                    <a:lnTo>
                      <a:pt x="55" y="113"/>
                    </a:lnTo>
                    <a:lnTo>
                      <a:pt x="27" y="59"/>
                    </a:lnTo>
                    <a:lnTo>
                      <a:pt x="27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27" y="0"/>
                    </a:lnTo>
                    <a:lnTo>
                      <a:pt x="64" y="77"/>
                    </a:lnTo>
                    <a:lnTo>
                      <a:pt x="101" y="0"/>
                    </a:lnTo>
                    <a:lnTo>
                      <a:pt x="129" y="0"/>
                    </a:lnTo>
                    <a:lnTo>
                      <a:pt x="129" y="142"/>
                    </a:lnTo>
                    <a:lnTo>
                      <a:pt x="101" y="14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4" name="Freeform 39"/>
              <p:cNvSpPr>
                <a:spLocks/>
              </p:cNvSpPr>
              <p:nvPr/>
            </p:nvSpPr>
            <p:spPr bwMode="auto">
              <a:xfrm>
                <a:off x="6127750" y="-819151"/>
                <a:ext cx="82550" cy="128588"/>
              </a:xfrm>
              <a:custGeom>
                <a:avLst/>
                <a:gdLst>
                  <a:gd name="T0" fmla="*/ 0 w 93"/>
                  <a:gd name="T1" fmla="*/ 142 h 142"/>
                  <a:gd name="T2" fmla="*/ 0 w 93"/>
                  <a:gd name="T3" fmla="*/ 142 h 142"/>
                  <a:gd name="T4" fmla="*/ 0 w 93"/>
                  <a:gd name="T5" fmla="*/ 0 h 142"/>
                  <a:gd name="T6" fmla="*/ 93 w 93"/>
                  <a:gd name="T7" fmla="*/ 0 h 142"/>
                  <a:gd name="T8" fmla="*/ 93 w 93"/>
                  <a:gd name="T9" fmla="*/ 25 h 142"/>
                  <a:gd name="T10" fmla="*/ 27 w 93"/>
                  <a:gd name="T11" fmla="*/ 25 h 142"/>
                  <a:gd name="T12" fmla="*/ 27 w 93"/>
                  <a:gd name="T13" fmla="*/ 58 h 142"/>
                  <a:gd name="T14" fmla="*/ 84 w 93"/>
                  <a:gd name="T15" fmla="*/ 58 h 142"/>
                  <a:gd name="T16" fmla="*/ 84 w 93"/>
                  <a:gd name="T17" fmla="*/ 83 h 142"/>
                  <a:gd name="T18" fmla="*/ 27 w 93"/>
                  <a:gd name="T19" fmla="*/ 83 h 142"/>
                  <a:gd name="T20" fmla="*/ 27 w 93"/>
                  <a:gd name="T21" fmla="*/ 118 h 142"/>
                  <a:gd name="T22" fmla="*/ 93 w 93"/>
                  <a:gd name="T23" fmla="*/ 118 h 142"/>
                  <a:gd name="T24" fmla="*/ 93 w 93"/>
                  <a:gd name="T25" fmla="*/ 142 h 142"/>
                  <a:gd name="T26" fmla="*/ 0 w 93"/>
                  <a:gd name="T27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3" h="142">
                    <a:moveTo>
                      <a:pt x="0" y="142"/>
                    </a:moveTo>
                    <a:lnTo>
                      <a:pt x="0" y="142"/>
                    </a:lnTo>
                    <a:lnTo>
                      <a:pt x="0" y="0"/>
                    </a:lnTo>
                    <a:lnTo>
                      <a:pt x="93" y="0"/>
                    </a:lnTo>
                    <a:lnTo>
                      <a:pt x="93" y="25"/>
                    </a:lnTo>
                    <a:lnTo>
                      <a:pt x="27" y="25"/>
                    </a:lnTo>
                    <a:lnTo>
                      <a:pt x="27" y="58"/>
                    </a:lnTo>
                    <a:lnTo>
                      <a:pt x="84" y="58"/>
                    </a:lnTo>
                    <a:lnTo>
                      <a:pt x="84" y="83"/>
                    </a:lnTo>
                    <a:lnTo>
                      <a:pt x="27" y="83"/>
                    </a:lnTo>
                    <a:lnTo>
                      <a:pt x="27" y="118"/>
                    </a:lnTo>
                    <a:lnTo>
                      <a:pt x="93" y="118"/>
                    </a:lnTo>
                    <a:lnTo>
                      <a:pt x="93" y="142"/>
                    </a:lnTo>
                    <a:lnTo>
                      <a:pt x="0" y="14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5" name="Freeform 40"/>
              <p:cNvSpPr>
                <a:spLocks/>
              </p:cNvSpPr>
              <p:nvPr/>
            </p:nvSpPr>
            <p:spPr bwMode="auto">
              <a:xfrm>
                <a:off x="6234113" y="-819151"/>
                <a:ext cx="98425" cy="128588"/>
              </a:xfrm>
              <a:custGeom>
                <a:avLst/>
                <a:gdLst>
                  <a:gd name="T0" fmla="*/ 84 w 109"/>
                  <a:gd name="T1" fmla="*/ 142 h 142"/>
                  <a:gd name="T2" fmla="*/ 84 w 109"/>
                  <a:gd name="T3" fmla="*/ 142 h 142"/>
                  <a:gd name="T4" fmla="*/ 27 w 109"/>
                  <a:gd name="T5" fmla="*/ 55 h 142"/>
                  <a:gd name="T6" fmla="*/ 27 w 109"/>
                  <a:gd name="T7" fmla="*/ 142 h 142"/>
                  <a:gd name="T8" fmla="*/ 0 w 109"/>
                  <a:gd name="T9" fmla="*/ 142 h 142"/>
                  <a:gd name="T10" fmla="*/ 0 w 109"/>
                  <a:gd name="T11" fmla="*/ 0 h 142"/>
                  <a:gd name="T12" fmla="*/ 24 w 109"/>
                  <a:gd name="T13" fmla="*/ 0 h 142"/>
                  <a:gd name="T14" fmla="*/ 81 w 109"/>
                  <a:gd name="T15" fmla="*/ 87 h 142"/>
                  <a:gd name="T16" fmla="*/ 81 w 109"/>
                  <a:gd name="T17" fmla="*/ 0 h 142"/>
                  <a:gd name="T18" fmla="*/ 109 w 109"/>
                  <a:gd name="T19" fmla="*/ 0 h 142"/>
                  <a:gd name="T20" fmla="*/ 109 w 109"/>
                  <a:gd name="T21" fmla="*/ 142 h 142"/>
                  <a:gd name="T22" fmla="*/ 84 w 109"/>
                  <a:gd name="T23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9" h="142">
                    <a:moveTo>
                      <a:pt x="84" y="142"/>
                    </a:moveTo>
                    <a:lnTo>
                      <a:pt x="84" y="142"/>
                    </a:lnTo>
                    <a:lnTo>
                      <a:pt x="27" y="55"/>
                    </a:lnTo>
                    <a:lnTo>
                      <a:pt x="27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24" y="0"/>
                    </a:lnTo>
                    <a:lnTo>
                      <a:pt x="81" y="87"/>
                    </a:lnTo>
                    <a:lnTo>
                      <a:pt x="81" y="0"/>
                    </a:lnTo>
                    <a:lnTo>
                      <a:pt x="109" y="0"/>
                    </a:lnTo>
                    <a:lnTo>
                      <a:pt x="109" y="142"/>
                    </a:lnTo>
                    <a:lnTo>
                      <a:pt x="84" y="14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6" name="Freeform 41"/>
              <p:cNvSpPr>
                <a:spLocks/>
              </p:cNvSpPr>
              <p:nvPr/>
            </p:nvSpPr>
            <p:spPr bwMode="auto">
              <a:xfrm>
                <a:off x="6351588" y="-819151"/>
                <a:ext cx="90488" cy="128588"/>
              </a:xfrm>
              <a:custGeom>
                <a:avLst/>
                <a:gdLst>
                  <a:gd name="T0" fmla="*/ 65 w 102"/>
                  <a:gd name="T1" fmla="*/ 25 h 142"/>
                  <a:gd name="T2" fmla="*/ 65 w 102"/>
                  <a:gd name="T3" fmla="*/ 25 h 142"/>
                  <a:gd name="T4" fmla="*/ 65 w 102"/>
                  <a:gd name="T5" fmla="*/ 142 h 142"/>
                  <a:gd name="T6" fmla="*/ 37 w 102"/>
                  <a:gd name="T7" fmla="*/ 142 h 142"/>
                  <a:gd name="T8" fmla="*/ 37 w 102"/>
                  <a:gd name="T9" fmla="*/ 25 h 142"/>
                  <a:gd name="T10" fmla="*/ 0 w 102"/>
                  <a:gd name="T11" fmla="*/ 25 h 142"/>
                  <a:gd name="T12" fmla="*/ 0 w 102"/>
                  <a:gd name="T13" fmla="*/ 0 h 142"/>
                  <a:gd name="T14" fmla="*/ 102 w 102"/>
                  <a:gd name="T15" fmla="*/ 0 h 142"/>
                  <a:gd name="T16" fmla="*/ 102 w 102"/>
                  <a:gd name="T17" fmla="*/ 25 h 142"/>
                  <a:gd name="T18" fmla="*/ 65 w 102"/>
                  <a:gd name="T19" fmla="*/ 25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42">
                    <a:moveTo>
                      <a:pt x="65" y="25"/>
                    </a:moveTo>
                    <a:lnTo>
                      <a:pt x="65" y="25"/>
                    </a:lnTo>
                    <a:lnTo>
                      <a:pt x="65" y="142"/>
                    </a:lnTo>
                    <a:lnTo>
                      <a:pt x="37" y="142"/>
                    </a:lnTo>
                    <a:lnTo>
                      <a:pt x="37" y="25"/>
                    </a:lnTo>
                    <a:lnTo>
                      <a:pt x="0" y="25"/>
                    </a:lnTo>
                    <a:lnTo>
                      <a:pt x="0" y="0"/>
                    </a:lnTo>
                    <a:lnTo>
                      <a:pt x="102" y="0"/>
                    </a:lnTo>
                    <a:lnTo>
                      <a:pt x="102" y="25"/>
                    </a:lnTo>
                    <a:lnTo>
                      <a:pt x="65" y="2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39" name="Reuse/Disposal"/>
          <p:cNvGrpSpPr/>
          <p:nvPr/>
        </p:nvGrpSpPr>
        <p:grpSpPr>
          <a:xfrm>
            <a:off x="7479799" y="2253824"/>
            <a:ext cx="1170319" cy="125437"/>
            <a:chOff x="7800975" y="-508001"/>
            <a:chExt cx="1436688" cy="153988"/>
          </a:xfrm>
          <a:solidFill>
            <a:schemeClr val="accent3">
              <a:lumMod val="75000"/>
            </a:schemeClr>
          </a:solidFill>
        </p:grpSpPr>
        <p:sp>
          <p:nvSpPr>
            <p:cNvPr id="344" name="Freeform 42"/>
            <p:cNvSpPr>
              <a:spLocks noEditPoints="1"/>
            </p:cNvSpPr>
            <p:nvPr/>
          </p:nvSpPr>
          <p:spPr bwMode="auto">
            <a:xfrm>
              <a:off x="7800975" y="-495301"/>
              <a:ext cx="95250" cy="128588"/>
            </a:xfrm>
            <a:custGeom>
              <a:avLst/>
              <a:gdLst>
                <a:gd name="T0" fmla="*/ 76 w 108"/>
                <a:gd name="T1" fmla="*/ 143 h 143"/>
                <a:gd name="T2" fmla="*/ 76 w 108"/>
                <a:gd name="T3" fmla="*/ 143 h 143"/>
                <a:gd name="T4" fmla="*/ 48 w 108"/>
                <a:gd name="T5" fmla="*/ 86 h 143"/>
                <a:gd name="T6" fmla="*/ 28 w 108"/>
                <a:gd name="T7" fmla="*/ 86 h 143"/>
                <a:gd name="T8" fmla="*/ 28 w 108"/>
                <a:gd name="T9" fmla="*/ 143 h 143"/>
                <a:gd name="T10" fmla="*/ 0 w 108"/>
                <a:gd name="T11" fmla="*/ 143 h 143"/>
                <a:gd name="T12" fmla="*/ 0 w 108"/>
                <a:gd name="T13" fmla="*/ 0 h 143"/>
                <a:gd name="T14" fmla="*/ 56 w 108"/>
                <a:gd name="T15" fmla="*/ 0 h 143"/>
                <a:gd name="T16" fmla="*/ 102 w 108"/>
                <a:gd name="T17" fmla="*/ 44 h 143"/>
                <a:gd name="T18" fmla="*/ 76 w 108"/>
                <a:gd name="T19" fmla="*/ 81 h 143"/>
                <a:gd name="T20" fmla="*/ 108 w 108"/>
                <a:gd name="T21" fmla="*/ 143 h 143"/>
                <a:gd name="T22" fmla="*/ 76 w 108"/>
                <a:gd name="T23" fmla="*/ 143 h 143"/>
                <a:gd name="T24" fmla="*/ 54 w 108"/>
                <a:gd name="T25" fmla="*/ 25 h 143"/>
                <a:gd name="T26" fmla="*/ 54 w 108"/>
                <a:gd name="T27" fmla="*/ 25 h 143"/>
                <a:gd name="T28" fmla="*/ 28 w 108"/>
                <a:gd name="T29" fmla="*/ 25 h 143"/>
                <a:gd name="T30" fmla="*/ 28 w 108"/>
                <a:gd name="T31" fmla="*/ 63 h 143"/>
                <a:gd name="T32" fmla="*/ 54 w 108"/>
                <a:gd name="T33" fmla="*/ 63 h 143"/>
                <a:gd name="T34" fmla="*/ 74 w 108"/>
                <a:gd name="T35" fmla="*/ 44 h 143"/>
                <a:gd name="T36" fmla="*/ 54 w 108"/>
                <a:gd name="T37" fmla="*/ 2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8" h="143">
                  <a:moveTo>
                    <a:pt x="76" y="143"/>
                  </a:moveTo>
                  <a:lnTo>
                    <a:pt x="76" y="143"/>
                  </a:lnTo>
                  <a:lnTo>
                    <a:pt x="48" y="86"/>
                  </a:lnTo>
                  <a:lnTo>
                    <a:pt x="28" y="86"/>
                  </a:lnTo>
                  <a:lnTo>
                    <a:pt x="28" y="143"/>
                  </a:lnTo>
                  <a:lnTo>
                    <a:pt x="0" y="143"/>
                  </a:lnTo>
                  <a:lnTo>
                    <a:pt x="0" y="0"/>
                  </a:lnTo>
                  <a:lnTo>
                    <a:pt x="56" y="0"/>
                  </a:lnTo>
                  <a:cubicBezTo>
                    <a:pt x="85" y="0"/>
                    <a:pt x="102" y="20"/>
                    <a:pt x="102" y="44"/>
                  </a:cubicBezTo>
                  <a:cubicBezTo>
                    <a:pt x="102" y="64"/>
                    <a:pt x="90" y="76"/>
                    <a:pt x="76" y="81"/>
                  </a:cubicBezTo>
                  <a:lnTo>
                    <a:pt x="108" y="143"/>
                  </a:lnTo>
                  <a:lnTo>
                    <a:pt x="76" y="143"/>
                  </a:lnTo>
                  <a:close/>
                  <a:moveTo>
                    <a:pt x="54" y="25"/>
                  </a:moveTo>
                  <a:lnTo>
                    <a:pt x="54" y="25"/>
                  </a:lnTo>
                  <a:lnTo>
                    <a:pt x="28" y="25"/>
                  </a:lnTo>
                  <a:lnTo>
                    <a:pt x="28" y="63"/>
                  </a:lnTo>
                  <a:lnTo>
                    <a:pt x="54" y="63"/>
                  </a:lnTo>
                  <a:cubicBezTo>
                    <a:pt x="66" y="63"/>
                    <a:pt x="74" y="55"/>
                    <a:pt x="74" y="44"/>
                  </a:cubicBezTo>
                  <a:cubicBezTo>
                    <a:pt x="74" y="33"/>
                    <a:pt x="66" y="25"/>
                    <a:pt x="54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5" name="Freeform 43"/>
            <p:cNvSpPr>
              <a:spLocks/>
            </p:cNvSpPr>
            <p:nvPr/>
          </p:nvSpPr>
          <p:spPr bwMode="auto">
            <a:xfrm>
              <a:off x="7916863" y="-495301"/>
              <a:ext cx="84138" cy="128588"/>
            </a:xfrm>
            <a:custGeom>
              <a:avLst/>
              <a:gdLst>
                <a:gd name="T0" fmla="*/ 0 w 94"/>
                <a:gd name="T1" fmla="*/ 143 h 143"/>
                <a:gd name="T2" fmla="*/ 0 w 94"/>
                <a:gd name="T3" fmla="*/ 143 h 143"/>
                <a:gd name="T4" fmla="*/ 0 w 94"/>
                <a:gd name="T5" fmla="*/ 0 h 143"/>
                <a:gd name="T6" fmla="*/ 94 w 94"/>
                <a:gd name="T7" fmla="*/ 0 h 143"/>
                <a:gd name="T8" fmla="*/ 94 w 94"/>
                <a:gd name="T9" fmla="*/ 25 h 143"/>
                <a:gd name="T10" fmla="*/ 28 w 94"/>
                <a:gd name="T11" fmla="*/ 25 h 143"/>
                <a:gd name="T12" fmla="*/ 28 w 94"/>
                <a:gd name="T13" fmla="*/ 59 h 143"/>
                <a:gd name="T14" fmla="*/ 84 w 94"/>
                <a:gd name="T15" fmla="*/ 59 h 143"/>
                <a:gd name="T16" fmla="*/ 84 w 94"/>
                <a:gd name="T17" fmla="*/ 83 h 143"/>
                <a:gd name="T18" fmla="*/ 28 w 94"/>
                <a:gd name="T19" fmla="*/ 83 h 143"/>
                <a:gd name="T20" fmla="*/ 28 w 94"/>
                <a:gd name="T21" fmla="*/ 118 h 143"/>
                <a:gd name="T22" fmla="*/ 94 w 94"/>
                <a:gd name="T23" fmla="*/ 118 h 143"/>
                <a:gd name="T24" fmla="*/ 94 w 94"/>
                <a:gd name="T25" fmla="*/ 143 h 143"/>
                <a:gd name="T26" fmla="*/ 0 w 94"/>
                <a:gd name="T27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4" h="143">
                  <a:moveTo>
                    <a:pt x="0" y="143"/>
                  </a:moveTo>
                  <a:lnTo>
                    <a:pt x="0" y="14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25"/>
                  </a:lnTo>
                  <a:lnTo>
                    <a:pt x="28" y="25"/>
                  </a:lnTo>
                  <a:lnTo>
                    <a:pt x="28" y="59"/>
                  </a:lnTo>
                  <a:lnTo>
                    <a:pt x="84" y="59"/>
                  </a:lnTo>
                  <a:lnTo>
                    <a:pt x="84" y="83"/>
                  </a:lnTo>
                  <a:lnTo>
                    <a:pt x="28" y="83"/>
                  </a:lnTo>
                  <a:lnTo>
                    <a:pt x="28" y="118"/>
                  </a:lnTo>
                  <a:lnTo>
                    <a:pt x="94" y="118"/>
                  </a:lnTo>
                  <a:lnTo>
                    <a:pt x="94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6" name="Freeform 44"/>
            <p:cNvSpPr>
              <a:spLocks/>
            </p:cNvSpPr>
            <p:nvPr/>
          </p:nvSpPr>
          <p:spPr bwMode="auto">
            <a:xfrm>
              <a:off x="8021638" y="-495301"/>
              <a:ext cx="93663" cy="128588"/>
            </a:xfrm>
            <a:custGeom>
              <a:avLst/>
              <a:gdLst>
                <a:gd name="T0" fmla="*/ 53 w 105"/>
                <a:gd name="T1" fmla="*/ 144 h 144"/>
                <a:gd name="T2" fmla="*/ 53 w 105"/>
                <a:gd name="T3" fmla="*/ 144 h 144"/>
                <a:gd name="T4" fmla="*/ 0 w 105"/>
                <a:gd name="T5" fmla="*/ 94 h 144"/>
                <a:gd name="T6" fmla="*/ 0 w 105"/>
                <a:gd name="T7" fmla="*/ 0 h 144"/>
                <a:gd name="T8" fmla="*/ 28 w 105"/>
                <a:gd name="T9" fmla="*/ 0 h 144"/>
                <a:gd name="T10" fmla="*/ 28 w 105"/>
                <a:gd name="T11" fmla="*/ 93 h 144"/>
                <a:gd name="T12" fmla="*/ 53 w 105"/>
                <a:gd name="T13" fmla="*/ 119 h 144"/>
                <a:gd name="T14" fmla="*/ 77 w 105"/>
                <a:gd name="T15" fmla="*/ 93 h 144"/>
                <a:gd name="T16" fmla="*/ 77 w 105"/>
                <a:gd name="T17" fmla="*/ 0 h 144"/>
                <a:gd name="T18" fmla="*/ 105 w 105"/>
                <a:gd name="T19" fmla="*/ 0 h 144"/>
                <a:gd name="T20" fmla="*/ 105 w 105"/>
                <a:gd name="T21" fmla="*/ 94 h 144"/>
                <a:gd name="T22" fmla="*/ 53 w 105"/>
                <a:gd name="T2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5" h="144">
                  <a:moveTo>
                    <a:pt x="53" y="144"/>
                  </a:moveTo>
                  <a:lnTo>
                    <a:pt x="53" y="144"/>
                  </a:lnTo>
                  <a:cubicBezTo>
                    <a:pt x="23" y="144"/>
                    <a:pt x="0" y="124"/>
                    <a:pt x="0" y="94"/>
                  </a:cubicBezTo>
                  <a:lnTo>
                    <a:pt x="0" y="0"/>
                  </a:lnTo>
                  <a:lnTo>
                    <a:pt x="28" y="0"/>
                  </a:lnTo>
                  <a:lnTo>
                    <a:pt x="28" y="93"/>
                  </a:lnTo>
                  <a:cubicBezTo>
                    <a:pt x="28" y="109"/>
                    <a:pt x="38" y="119"/>
                    <a:pt x="53" y="119"/>
                  </a:cubicBezTo>
                  <a:cubicBezTo>
                    <a:pt x="68" y="119"/>
                    <a:pt x="77" y="109"/>
                    <a:pt x="77" y="93"/>
                  </a:cubicBezTo>
                  <a:lnTo>
                    <a:pt x="77" y="0"/>
                  </a:lnTo>
                  <a:lnTo>
                    <a:pt x="105" y="0"/>
                  </a:lnTo>
                  <a:lnTo>
                    <a:pt x="105" y="94"/>
                  </a:lnTo>
                  <a:cubicBezTo>
                    <a:pt x="105" y="124"/>
                    <a:pt x="82" y="144"/>
                    <a:pt x="53" y="1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7" name="Freeform 45"/>
            <p:cNvSpPr>
              <a:spLocks/>
            </p:cNvSpPr>
            <p:nvPr/>
          </p:nvSpPr>
          <p:spPr bwMode="auto">
            <a:xfrm>
              <a:off x="8131175" y="-496888"/>
              <a:ext cx="92075" cy="130175"/>
            </a:xfrm>
            <a:custGeom>
              <a:avLst/>
              <a:gdLst>
                <a:gd name="T0" fmla="*/ 52 w 104"/>
                <a:gd name="T1" fmla="*/ 145 h 145"/>
                <a:gd name="T2" fmla="*/ 52 w 104"/>
                <a:gd name="T3" fmla="*/ 145 h 145"/>
                <a:gd name="T4" fmla="*/ 0 w 104"/>
                <a:gd name="T5" fmla="*/ 126 h 145"/>
                <a:gd name="T6" fmla="*/ 18 w 104"/>
                <a:gd name="T7" fmla="*/ 108 h 145"/>
                <a:gd name="T8" fmla="*/ 52 w 104"/>
                <a:gd name="T9" fmla="*/ 120 h 145"/>
                <a:gd name="T10" fmla="*/ 77 w 104"/>
                <a:gd name="T11" fmla="*/ 102 h 145"/>
                <a:gd name="T12" fmla="*/ 73 w 104"/>
                <a:gd name="T13" fmla="*/ 90 h 145"/>
                <a:gd name="T14" fmla="*/ 60 w 104"/>
                <a:gd name="T15" fmla="*/ 85 h 145"/>
                <a:gd name="T16" fmla="*/ 43 w 104"/>
                <a:gd name="T17" fmla="*/ 83 h 145"/>
                <a:gd name="T18" fmla="*/ 15 w 104"/>
                <a:gd name="T19" fmla="*/ 71 h 145"/>
                <a:gd name="T20" fmla="*/ 5 w 104"/>
                <a:gd name="T21" fmla="*/ 43 h 145"/>
                <a:gd name="T22" fmla="*/ 55 w 104"/>
                <a:gd name="T23" fmla="*/ 0 h 145"/>
                <a:gd name="T24" fmla="*/ 101 w 104"/>
                <a:gd name="T25" fmla="*/ 17 h 145"/>
                <a:gd name="T26" fmla="*/ 83 w 104"/>
                <a:gd name="T27" fmla="*/ 34 h 145"/>
                <a:gd name="T28" fmla="*/ 54 w 104"/>
                <a:gd name="T29" fmla="*/ 24 h 145"/>
                <a:gd name="T30" fmla="*/ 32 w 104"/>
                <a:gd name="T31" fmla="*/ 42 h 145"/>
                <a:gd name="T32" fmla="*/ 36 w 104"/>
                <a:gd name="T33" fmla="*/ 52 h 145"/>
                <a:gd name="T34" fmla="*/ 49 w 104"/>
                <a:gd name="T35" fmla="*/ 58 h 145"/>
                <a:gd name="T36" fmla="*/ 66 w 104"/>
                <a:gd name="T37" fmla="*/ 60 h 145"/>
                <a:gd name="T38" fmla="*/ 93 w 104"/>
                <a:gd name="T39" fmla="*/ 71 h 145"/>
                <a:gd name="T40" fmla="*/ 104 w 104"/>
                <a:gd name="T41" fmla="*/ 102 h 145"/>
                <a:gd name="T42" fmla="*/ 52 w 104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4" h="145">
                  <a:moveTo>
                    <a:pt x="52" y="145"/>
                  </a:moveTo>
                  <a:lnTo>
                    <a:pt x="52" y="145"/>
                  </a:lnTo>
                  <a:cubicBezTo>
                    <a:pt x="30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39" y="120"/>
                    <a:pt x="52" y="120"/>
                  </a:cubicBezTo>
                  <a:cubicBezTo>
                    <a:pt x="68" y="120"/>
                    <a:pt x="77" y="114"/>
                    <a:pt x="77" y="102"/>
                  </a:cubicBezTo>
                  <a:cubicBezTo>
                    <a:pt x="77" y="97"/>
                    <a:pt x="76" y="93"/>
                    <a:pt x="73" y="90"/>
                  </a:cubicBezTo>
                  <a:cubicBezTo>
                    <a:pt x="70" y="88"/>
                    <a:pt x="67" y="86"/>
                    <a:pt x="60" y="85"/>
                  </a:cubicBezTo>
                  <a:lnTo>
                    <a:pt x="43" y="83"/>
                  </a:lnTo>
                  <a:cubicBezTo>
                    <a:pt x="31" y="81"/>
                    <a:pt x="22" y="77"/>
                    <a:pt x="15" y="71"/>
                  </a:cubicBezTo>
                  <a:cubicBezTo>
                    <a:pt x="9" y="65"/>
                    <a:pt x="5" y="55"/>
                    <a:pt x="5" y="43"/>
                  </a:cubicBezTo>
                  <a:cubicBezTo>
                    <a:pt x="5" y="18"/>
                    <a:pt x="24" y="0"/>
                    <a:pt x="55" y="0"/>
                  </a:cubicBezTo>
                  <a:cubicBezTo>
                    <a:pt x="74" y="0"/>
                    <a:pt x="89" y="5"/>
                    <a:pt x="101" y="17"/>
                  </a:cubicBezTo>
                  <a:lnTo>
                    <a:pt x="83" y="34"/>
                  </a:lnTo>
                  <a:cubicBezTo>
                    <a:pt x="74" y="26"/>
                    <a:pt x="63" y="24"/>
                    <a:pt x="54" y="24"/>
                  </a:cubicBezTo>
                  <a:cubicBezTo>
                    <a:pt x="39" y="24"/>
                    <a:pt x="32" y="32"/>
                    <a:pt x="32" y="42"/>
                  </a:cubicBezTo>
                  <a:cubicBezTo>
                    <a:pt x="32" y="46"/>
                    <a:pt x="33" y="50"/>
                    <a:pt x="36" y="52"/>
                  </a:cubicBezTo>
                  <a:cubicBezTo>
                    <a:pt x="39" y="55"/>
                    <a:pt x="44" y="57"/>
                    <a:pt x="49" y="58"/>
                  </a:cubicBezTo>
                  <a:lnTo>
                    <a:pt x="66" y="60"/>
                  </a:lnTo>
                  <a:cubicBezTo>
                    <a:pt x="79" y="62"/>
                    <a:pt x="87" y="66"/>
                    <a:pt x="93" y="71"/>
                  </a:cubicBezTo>
                  <a:cubicBezTo>
                    <a:pt x="101" y="79"/>
                    <a:pt x="104" y="89"/>
                    <a:pt x="104" y="102"/>
                  </a:cubicBezTo>
                  <a:cubicBezTo>
                    <a:pt x="104" y="129"/>
                    <a:pt x="81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8" name="Freeform 46"/>
            <p:cNvSpPr>
              <a:spLocks/>
            </p:cNvSpPr>
            <p:nvPr/>
          </p:nvSpPr>
          <p:spPr bwMode="auto">
            <a:xfrm>
              <a:off x="8245475" y="-495301"/>
              <a:ext cx="84138" cy="128588"/>
            </a:xfrm>
            <a:custGeom>
              <a:avLst/>
              <a:gdLst>
                <a:gd name="T0" fmla="*/ 0 w 93"/>
                <a:gd name="T1" fmla="*/ 143 h 143"/>
                <a:gd name="T2" fmla="*/ 0 w 93"/>
                <a:gd name="T3" fmla="*/ 143 h 143"/>
                <a:gd name="T4" fmla="*/ 0 w 93"/>
                <a:gd name="T5" fmla="*/ 0 h 143"/>
                <a:gd name="T6" fmla="*/ 93 w 93"/>
                <a:gd name="T7" fmla="*/ 0 h 143"/>
                <a:gd name="T8" fmla="*/ 93 w 93"/>
                <a:gd name="T9" fmla="*/ 25 h 143"/>
                <a:gd name="T10" fmla="*/ 27 w 93"/>
                <a:gd name="T11" fmla="*/ 25 h 143"/>
                <a:gd name="T12" fmla="*/ 27 w 93"/>
                <a:gd name="T13" fmla="*/ 59 h 143"/>
                <a:gd name="T14" fmla="*/ 84 w 93"/>
                <a:gd name="T15" fmla="*/ 59 h 143"/>
                <a:gd name="T16" fmla="*/ 84 w 93"/>
                <a:gd name="T17" fmla="*/ 83 h 143"/>
                <a:gd name="T18" fmla="*/ 27 w 93"/>
                <a:gd name="T19" fmla="*/ 83 h 143"/>
                <a:gd name="T20" fmla="*/ 27 w 93"/>
                <a:gd name="T21" fmla="*/ 118 h 143"/>
                <a:gd name="T22" fmla="*/ 93 w 93"/>
                <a:gd name="T23" fmla="*/ 118 h 143"/>
                <a:gd name="T24" fmla="*/ 93 w 93"/>
                <a:gd name="T25" fmla="*/ 143 h 143"/>
                <a:gd name="T26" fmla="*/ 0 w 93"/>
                <a:gd name="T27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3" h="143">
                  <a:moveTo>
                    <a:pt x="0" y="143"/>
                  </a:moveTo>
                  <a:lnTo>
                    <a:pt x="0" y="143"/>
                  </a:lnTo>
                  <a:lnTo>
                    <a:pt x="0" y="0"/>
                  </a:lnTo>
                  <a:lnTo>
                    <a:pt x="93" y="0"/>
                  </a:lnTo>
                  <a:lnTo>
                    <a:pt x="93" y="25"/>
                  </a:lnTo>
                  <a:lnTo>
                    <a:pt x="27" y="25"/>
                  </a:lnTo>
                  <a:lnTo>
                    <a:pt x="27" y="59"/>
                  </a:lnTo>
                  <a:lnTo>
                    <a:pt x="84" y="59"/>
                  </a:lnTo>
                  <a:lnTo>
                    <a:pt x="84" y="83"/>
                  </a:lnTo>
                  <a:lnTo>
                    <a:pt x="27" y="83"/>
                  </a:lnTo>
                  <a:lnTo>
                    <a:pt x="27" y="118"/>
                  </a:lnTo>
                  <a:lnTo>
                    <a:pt x="93" y="118"/>
                  </a:lnTo>
                  <a:lnTo>
                    <a:pt x="93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9" name="Freeform 47"/>
            <p:cNvSpPr>
              <a:spLocks/>
            </p:cNvSpPr>
            <p:nvPr/>
          </p:nvSpPr>
          <p:spPr bwMode="auto">
            <a:xfrm>
              <a:off x="8342313" y="-508001"/>
              <a:ext cx="71438" cy="153988"/>
            </a:xfrm>
            <a:custGeom>
              <a:avLst/>
              <a:gdLst>
                <a:gd name="T0" fmla="*/ 57 w 81"/>
                <a:gd name="T1" fmla="*/ 0 h 172"/>
                <a:gd name="T2" fmla="*/ 57 w 81"/>
                <a:gd name="T3" fmla="*/ 0 h 172"/>
                <a:gd name="T4" fmla="*/ 0 w 81"/>
                <a:gd name="T5" fmla="*/ 172 h 172"/>
                <a:gd name="T6" fmla="*/ 24 w 81"/>
                <a:gd name="T7" fmla="*/ 172 h 172"/>
                <a:gd name="T8" fmla="*/ 81 w 81"/>
                <a:gd name="T9" fmla="*/ 0 h 172"/>
                <a:gd name="T10" fmla="*/ 57 w 81"/>
                <a:gd name="T11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172">
                  <a:moveTo>
                    <a:pt x="57" y="0"/>
                  </a:moveTo>
                  <a:lnTo>
                    <a:pt x="57" y="0"/>
                  </a:lnTo>
                  <a:lnTo>
                    <a:pt x="0" y="172"/>
                  </a:lnTo>
                  <a:lnTo>
                    <a:pt x="24" y="172"/>
                  </a:lnTo>
                  <a:lnTo>
                    <a:pt x="81" y="0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0" name="Freeform 48"/>
            <p:cNvSpPr>
              <a:spLocks noEditPoints="1"/>
            </p:cNvSpPr>
            <p:nvPr/>
          </p:nvSpPr>
          <p:spPr bwMode="auto">
            <a:xfrm>
              <a:off x="8429625" y="-495301"/>
              <a:ext cx="93663" cy="128588"/>
            </a:xfrm>
            <a:custGeom>
              <a:avLst/>
              <a:gdLst>
                <a:gd name="T0" fmla="*/ 89 w 105"/>
                <a:gd name="T1" fmla="*/ 129 h 143"/>
                <a:gd name="T2" fmla="*/ 89 w 105"/>
                <a:gd name="T3" fmla="*/ 129 h 143"/>
                <a:gd name="T4" fmla="*/ 51 w 105"/>
                <a:gd name="T5" fmla="*/ 143 h 143"/>
                <a:gd name="T6" fmla="*/ 0 w 105"/>
                <a:gd name="T7" fmla="*/ 143 h 143"/>
                <a:gd name="T8" fmla="*/ 0 w 105"/>
                <a:gd name="T9" fmla="*/ 0 h 143"/>
                <a:gd name="T10" fmla="*/ 51 w 105"/>
                <a:gd name="T11" fmla="*/ 0 h 143"/>
                <a:gd name="T12" fmla="*/ 89 w 105"/>
                <a:gd name="T13" fmla="*/ 14 h 143"/>
                <a:gd name="T14" fmla="*/ 103 w 105"/>
                <a:gd name="T15" fmla="*/ 71 h 143"/>
                <a:gd name="T16" fmla="*/ 89 w 105"/>
                <a:gd name="T17" fmla="*/ 129 h 143"/>
                <a:gd name="T18" fmla="*/ 69 w 105"/>
                <a:gd name="T19" fmla="*/ 34 h 143"/>
                <a:gd name="T20" fmla="*/ 69 w 105"/>
                <a:gd name="T21" fmla="*/ 34 h 143"/>
                <a:gd name="T22" fmla="*/ 48 w 105"/>
                <a:gd name="T23" fmla="*/ 25 h 143"/>
                <a:gd name="T24" fmla="*/ 27 w 105"/>
                <a:gd name="T25" fmla="*/ 25 h 143"/>
                <a:gd name="T26" fmla="*/ 27 w 105"/>
                <a:gd name="T27" fmla="*/ 118 h 143"/>
                <a:gd name="T28" fmla="*/ 48 w 105"/>
                <a:gd name="T29" fmla="*/ 118 h 143"/>
                <a:gd name="T30" fmla="*/ 69 w 105"/>
                <a:gd name="T31" fmla="*/ 109 h 143"/>
                <a:gd name="T32" fmla="*/ 75 w 105"/>
                <a:gd name="T33" fmla="*/ 71 h 143"/>
                <a:gd name="T34" fmla="*/ 69 w 105"/>
                <a:gd name="T35" fmla="*/ 3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" h="143">
                  <a:moveTo>
                    <a:pt x="89" y="129"/>
                  </a:moveTo>
                  <a:lnTo>
                    <a:pt x="89" y="129"/>
                  </a:lnTo>
                  <a:cubicBezTo>
                    <a:pt x="79" y="138"/>
                    <a:pt x="66" y="143"/>
                    <a:pt x="51" y="143"/>
                  </a:cubicBezTo>
                  <a:lnTo>
                    <a:pt x="0" y="143"/>
                  </a:lnTo>
                  <a:lnTo>
                    <a:pt x="0" y="0"/>
                  </a:lnTo>
                  <a:lnTo>
                    <a:pt x="51" y="0"/>
                  </a:lnTo>
                  <a:cubicBezTo>
                    <a:pt x="66" y="0"/>
                    <a:pt x="79" y="5"/>
                    <a:pt x="89" y="14"/>
                  </a:cubicBezTo>
                  <a:cubicBezTo>
                    <a:pt x="105" y="30"/>
                    <a:pt x="103" y="50"/>
                    <a:pt x="103" y="71"/>
                  </a:cubicBezTo>
                  <a:cubicBezTo>
                    <a:pt x="103" y="92"/>
                    <a:pt x="105" y="113"/>
                    <a:pt x="89" y="129"/>
                  </a:cubicBezTo>
                  <a:close/>
                  <a:moveTo>
                    <a:pt x="69" y="34"/>
                  </a:moveTo>
                  <a:lnTo>
                    <a:pt x="69" y="34"/>
                  </a:lnTo>
                  <a:cubicBezTo>
                    <a:pt x="64" y="28"/>
                    <a:pt x="58" y="25"/>
                    <a:pt x="48" y="25"/>
                  </a:cubicBezTo>
                  <a:lnTo>
                    <a:pt x="27" y="25"/>
                  </a:lnTo>
                  <a:lnTo>
                    <a:pt x="27" y="118"/>
                  </a:lnTo>
                  <a:lnTo>
                    <a:pt x="48" y="118"/>
                  </a:lnTo>
                  <a:cubicBezTo>
                    <a:pt x="58" y="118"/>
                    <a:pt x="64" y="115"/>
                    <a:pt x="69" y="109"/>
                  </a:cubicBezTo>
                  <a:cubicBezTo>
                    <a:pt x="74" y="103"/>
                    <a:pt x="75" y="93"/>
                    <a:pt x="75" y="71"/>
                  </a:cubicBezTo>
                  <a:cubicBezTo>
                    <a:pt x="75" y="49"/>
                    <a:pt x="74" y="40"/>
                    <a:pt x="69" y="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1" name="Freeform 49"/>
            <p:cNvSpPr>
              <a:spLocks/>
            </p:cNvSpPr>
            <p:nvPr/>
          </p:nvSpPr>
          <p:spPr bwMode="auto">
            <a:xfrm>
              <a:off x="8545513" y="-495301"/>
              <a:ext cx="25400" cy="128588"/>
            </a:xfrm>
            <a:custGeom>
              <a:avLst/>
              <a:gdLst>
                <a:gd name="T0" fmla="*/ 0 w 27"/>
                <a:gd name="T1" fmla="*/ 0 h 143"/>
                <a:gd name="T2" fmla="*/ 0 w 27"/>
                <a:gd name="T3" fmla="*/ 0 h 143"/>
                <a:gd name="T4" fmla="*/ 27 w 27"/>
                <a:gd name="T5" fmla="*/ 0 h 143"/>
                <a:gd name="T6" fmla="*/ 27 w 27"/>
                <a:gd name="T7" fmla="*/ 143 h 143"/>
                <a:gd name="T8" fmla="*/ 0 w 27"/>
                <a:gd name="T9" fmla="*/ 143 h 143"/>
                <a:gd name="T10" fmla="*/ 0 w 27"/>
                <a:gd name="T11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143">
                  <a:moveTo>
                    <a:pt x="0" y="0"/>
                  </a:moveTo>
                  <a:lnTo>
                    <a:pt x="0" y="0"/>
                  </a:lnTo>
                  <a:lnTo>
                    <a:pt x="27" y="0"/>
                  </a:lnTo>
                  <a:lnTo>
                    <a:pt x="27" y="143"/>
                  </a:lnTo>
                  <a:lnTo>
                    <a:pt x="0" y="14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2" name="Freeform 50"/>
            <p:cNvSpPr>
              <a:spLocks/>
            </p:cNvSpPr>
            <p:nvPr/>
          </p:nvSpPr>
          <p:spPr bwMode="auto">
            <a:xfrm>
              <a:off x="8589963" y="-496888"/>
              <a:ext cx="92075" cy="130175"/>
            </a:xfrm>
            <a:custGeom>
              <a:avLst/>
              <a:gdLst>
                <a:gd name="T0" fmla="*/ 52 w 104"/>
                <a:gd name="T1" fmla="*/ 145 h 145"/>
                <a:gd name="T2" fmla="*/ 52 w 104"/>
                <a:gd name="T3" fmla="*/ 145 h 145"/>
                <a:gd name="T4" fmla="*/ 0 w 104"/>
                <a:gd name="T5" fmla="*/ 126 h 145"/>
                <a:gd name="T6" fmla="*/ 18 w 104"/>
                <a:gd name="T7" fmla="*/ 108 h 145"/>
                <a:gd name="T8" fmla="*/ 52 w 104"/>
                <a:gd name="T9" fmla="*/ 120 h 145"/>
                <a:gd name="T10" fmla="*/ 77 w 104"/>
                <a:gd name="T11" fmla="*/ 102 h 145"/>
                <a:gd name="T12" fmla="*/ 73 w 104"/>
                <a:gd name="T13" fmla="*/ 90 h 145"/>
                <a:gd name="T14" fmla="*/ 60 w 104"/>
                <a:gd name="T15" fmla="*/ 85 h 145"/>
                <a:gd name="T16" fmla="*/ 43 w 104"/>
                <a:gd name="T17" fmla="*/ 83 h 145"/>
                <a:gd name="T18" fmla="*/ 15 w 104"/>
                <a:gd name="T19" fmla="*/ 71 h 145"/>
                <a:gd name="T20" fmla="*/ 5 w 104"/>
                <a:gd name="T21" fmla="*/ 43 h 145"/>
                <a:gd name="T22" fmla="*/ 55 w 104"/>
                <a:gd name="T23" fmla="*/ 0 h 145"/>
                <a:gd name="T24" fmla="*/ 101 w 104"/>
                <a:gd name="T25" fmla="*/ 17 h 145"/>
                <a:gd name="T26" fmla="*/ 83 w 104"/>
                <a:gd name="T27" fmla="*/ 34 h 145"/>
                <a:gd name="T28" fmla="*/ 54 w 104"/>
                <a:gd name="T29" fmla="*/ 24 h 145"/>
                <a:gd name="T30" fmla="*/ 32 w 104"/>
                <a:gd name="T31" fmla="*/ 42 h 145"/>
                <a:gd name="T32" fmla="*/ 36 w 104"/>
                <a:gd name="T33" fmla="*/ 52 h 145"/>
                <a:gd name="T34" fmla="*/ 49 w 104"/>
                <a:gd name="T35" fmla="*/ 58 h 145"/>
                <a:gd name="T36" fmla="*/ 66 w 104"/>
                <a:gd name="T37" fmla="*/ 60 h 145"/>
                <a:gd name="T38" fmla="*/ 93 w 104"/>
                <a:gd name="T39" fmla="*/ 71 h 145"/>
                <a:gd name="T40" fmla="*/ 104 w 104"/>
                <a:gd name="T41" fmla="*/ 102 h 145"/>
                <a:gd name="T42" fmla="*/ 52 w 104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4" h="145">
                  <a:moveTo>
                    <a:pt x="52" y="145"/>
                  </a:moveTo>
                  <a:lnTo>
                    <a:pt x="52" y="145"/>
                  </a:lnTo>
                  <a:cubicBezTo>
                    <a:pt x="30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39" y="120"/>
                    <a:pt x="52" y="120"/>
                  </a:cubicBezTo>
                  <a:cubicBezTo>
                    <a:pt x="68" y="120"/>
                    <a:pt x="77" y="114"/>
                    <a:pt x="77" y="102"/>
                  </a:cubicBezTo>
                  <a:cubicBezTo>
                    <a:pt x="77" y="97"/>
                    <a:pt x="76" y="93"/>
                    <a:pt x="73" y="90"/>
                  </a:cubicBezTo>
                  <a:cubicBezTo>
                    <a:pt x="70" y="88"/>
                    <a:pt x="67" y="86"/>
                    <a:pt x="60" y="85"/>
                  </a:cubicBezTo>
                  <a:lnTo>
                    <a:pt x="43" y="83"/>
                  </a:lnTo>
                  <a:cubicBezTo>
                    <a:pt x="31" y="81"/>
                    <a:pt x="22" y="77"/>
                    <a:pt x="15" y="71"/>
                  </a:cubicBezTo>
                  <a:cubicBezTo>
                    <a:pt x="9" y="65"/>
                    <a:pt x="5" y="55"/>
                    <a:pt x="5" y="43"/>
                  </a:cubicBezTo>
                  <a:cubicBezTo>
                    <a:pt x="5" y="18"/>
                    <a:pt x="24" y="0"/>
                    <a:pt x="55" y="0"/>
                  </a:cubicBezTo>
                  <a:cubicBezTo>
                    <a:pt x="74" y="0"/>
                    <a:pt x="89" y="5"/>
                    <a:pt x="101" y="17"/>
                  </a:cubicBezTo>
                  <a:lnTo>
                    <a:pt x="83" y="34"/>
                  </a:lnTo>
                  <a:cubicBezTo>
                    <a:pt x="74" y="26"/>
                    <a:pt x="63" y="24"/>
                    <a:pt x="54" y="24"/>
                  </a:cubicBezTo>
                  <a:cubicBezTo>
                    <a:pt x="39" y="24"/>
                    <a:pt x="32" y="32"/>
                    <a:pt x="32" y="42"/>
                  </a:cubicBezTo>
                  <a:cubicBezTo>
                    <a:pt x="32" y="46"/>
                    <a:pt x="33" y="50"/>
                    <a:pt x="36" y="52"/>
                  </a:cubicBezTo>
                  <a:cubicBezTo>
                    <a:pt x="39" y="55"/>
                    <a:pt x="44" y="57"/>
                    <a:pt x="49" y="58"/>
                  </a:cubicBezTo>
                  <a:lnTo>
                    <a:pt x="66" y="60"/>
                  </a:lnTo>
                  <a:cubicBezTo>
                    <a:pt x="79" y="62"/>
                    <a:pt x="87" y="66"/>
                    <a:pt x="93" y="71"/>
                  </a:cubicBezTo>
                  <a:cubicBezTo>
                    <a:pt x="101" y="79"/>
                    <a:pt x="104" y="89"/>
                    <a:pt x="104" y="102"/>
                  </a:cubicBezTo>
                  <a:cubicBezTo>
                    <a:pt x="104" y="129"/>
                    <a:pt x="81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3" name="Freeform 51"/>
            <p:cNvSpPr>
              <a:spLocks noEditPoints="1"/>
            </p:cNvSpPr>
            <p:nvPr/>
          </p:nvSpPr>
          <p:spPr bwMode="auto">
            <a:xfrm>
              <a:off x="8704263" y="-495301"/>
              <a:ext cx="92075" cy="128588"/>
            </a:xfrm>
            <a:custGeom>
              <a:avLst/>
              <a:gdLst>
                <a:gd name="T0" fmla="*/ 55 w 102"/>
                <a:gd name="T1" fmla="*/ 89 h 143"/>
                <a:gd name="T2" fmla="*/ 55 w 102"/>
                <a:gd name="T3" fmla="*/ 89 h 143"/>
                <a:gd name="T4" fmla="*/ 27 w 102"/>
                <a:gd name="T5" fmla="*/ 89 h 143"/>
                <a:gd name="T6" fmla="*/ 27 w 102"/>
                <a:gd name="T7" fmla="*/ 143 h 143"/>
                <a:gd name="T8" fmla="*/ 0 w 102"/>
                <a:gd name="T9" fmla="*/ 143 h 143"/>
                <a:gd name="T10" fmla="*/ 0 w 102"/>
                <a:gd name="T11" fmla="*/ 0 h 143"/>
                <a:gd name="T12" fmla="*/ 55 w 102"/>
                <a:gd name="T13" fmla="*/ 0 h 143"/>
                <a:gd name="T14" fmla="*/ 102 w 102"/>
                <a:gd name="T15" fmla="*/ 45 h 143"/>
                <a:gd name="T16" fmla="*/ 55 w 102"/>
                <a:gd name="T17" fmla="*/ 89 h 143"/>
                <a:gd name="T18" fmla="*/ 53 w 102"/>
                <a:gd name="T19" fmla="*/ 25 h 143"/>
                <a:gd name="T20" fmla="*/ 53 w 102"/>
                <a:gd name="T21" fmla="*/ 25 h 143"/>
                <a:gd name="T22" fmla="*/ 27 w 102"/>
                <a:gd name="T23" fmla="*/ 25 h 143"/>
                <a:gd name="T24" fmla="*/ 27 w 102"/>
                <a:gd name="T25" fmla="*/ 64 h 143"/>
                <a:gd name="T26" fmla="*/ 53 w 102"/>
                <a:gd name="T27" fmla="*/ 64 h 143"/>
                <a:gd name="T28" fmla="*/ 74 w 102"/>
                <a:gd name="T29" fmla="*/ 45 h 143"/>
                <a:gd name="T30" fmla="*/ 53 w 102"/>
                <a:gd name="T31" fmla="*/ 2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2" h="143">
                  <a:moveTo>
                    <a:pt x="55" y="89"/>
                  </a:moveTo>
                  <a:lnTo>
                    <a:pt x="55" y="89"/>
                  </a:lnTo>
                  <a:lnTo>
                    <a:pt x="27" y="89"/>
                  </a:lnTo>
                  <a:lnTo>
                    <a:pt x="27" y="143"/>
                  </a:lnTo>
                  <a:lnTo>
                    <a:pt x="0" y="143"/>
                  </a:lnTo>
                  <a:lnTo>
                    <a:pt x="0" y="0"/>
                  </a:lnTo>
                  <a:lnTo>
                    <a:pt x="55" y="0"/>
                  </a:lnTo>
                  <a:cubicBezTo>
                    <a:pt x="84" y="0"/>
                    <a:pt x="102" y="20"/>
                    <a:pt x="102" y="45"/>
                  </a:cubicBezTo>
                  <a:cubicBezTo>
                    <a:pt x="102" y="69"/>
                    <a:pt x="84" y="89"/>
                    <a:pt x="55" y="89"/>
                  </a:cubicBezTo>
                  <a:close/>
                  <a:moveTo>
                    <a:pt x="53" y="25"/>
                  </a:moveTo>
                  <a:lnTo>
                    <a:pt x="53" y="25"/>
                  </a:lnTo>
                  <a:lnTo>
                    <a:pt x="27" y="25"/>
                  </a:lnTo>
                  <a:lnTo>
                    <a:pt x="27" y="64"/>
                  </a:lnTo>
                  <a:lnTo>
                    <a:pt x="53" y="64"/>
                  </a:lnTo>
                  <a:cubicBezTo>
                    <a:pt x="66" y="64"/>
                    <a:pt x="74" y="56"/>
                    <a:pt x="74" y="45"/>
                  </a:cubicBezTo>
                  <a:cubicBezTo>
                    <a:pt x="74" y="33"/>
                    <a:pt x="66" y="25"/>
                    <a:pt x="53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4" name="Freeform 52"/>
            <p:cNvSpPr>
              <a:spLocks noEditPoints="1"/>
            </p:cNvSpPr>
            <p:nvPr/>
          </p:nvSpPr>
          <p:spPr bwMode="auto">
            <a:xfrm>
              <a:off x="8813800" y="-496888"/>
              <a:ext cx="93663" cy="130175"/>
            </a:xfrm>
            <a:custGeom>
              <a:avLst/>
              <a:gdLst>
                <a:gd name="T0" fmla="*/ 91 w 106"/>
                <a:gd name="T1" fmla="*/ 129 h 145"/>
                <a:gd name="T2" fmla="*/ 91 w 106"/>
                <a:gd name="T3" fmla="*/ 129 h 145"/>
                <a:gd name="T4" fmla="*/ 53 w 106"/>
                <a:gd name="T5" fmla="*/ 145 h 145"/>
                <a:gd name="T6" fmla="*/ 14 w 106"/>
                <a:gd name="T7" fmla="*/ 129 h 145"/>
                <a:gd name="T8" fmla="*/ 0 w 106"/>
                <a:gd name="T9" fmla="*/ 72 h 145"/>
                <a:gd name="T10" fmla="*/ 14 w 106"/>
                <a:gd name="T11" fmla="*/ 16 h 145"/>
                <a:gd name="T12" fmla="*/ 53 w 106"/>
                <a:gd name="T13" fmla="*/ 0 h 145"/>
                <a:gd name="T14" fmla="*/ 91 w 106"/>
                <a:gd name="T15" fmla="*/ 16 h 145"/>
                <a:gd name="T16" fmla="*/ 105 w 106"/>
                <a:gd name="T17" fmla="*/ 72 h 145"/>
                <a:gd name="T18" fmla="*/ 91 w 106"/>
                <a:gd name="T19" fmla="*/ 129 h 145"/>
                <a:gd name="T20" fmla="*/ 71 w 106"/>
                <a:gd name="T21" fmla="*/ 32 h 145"/>
                <a:gd name="T22" fmla="*/ 71 w 106"/>
                <a:gd name="T23" fmla="*/ 32 h 145"/>
                <a:gd name="T24" fmla="*/ 53 w 106"/>
                <a:gd name="T25" fmla="*/ 25 h 145"/>
                <a:gd name="T26" fmla="*/ 35 w 106"/>
                <a:gd name="T27" fmla="*/ 32 h 145"/>
                <a:gd name="T28" fmla="*/ 28 w 106"/>
                <a:gd name="T29" fmla="*/ 72 h 145"/>
                <a:gd name="T30" fmla="*/ 35 w 106"/>
                <a:gd name="T31" fmla="*/ 112 h 145"/>
                <a:gd name="T32" fmla="*/ 53 w 106"/>
                <a:gd name="T33" fmla="*/ 120 h 145"/>
                <a:gd name="T34" fmla="*/ 71 w 106"/>
                <a:gd name="T35" fmla="*/ 112 h 145"/>
                <a:gd name="T36" fmla="*/ 78 w 106"/>
                <a:gd name="T37" fmla="*/ 72 h 145"/>
                <a:gd name="T38" fmla="*/ 71 w 106"/>
                <a:gd name="T39" fmla="*/ 32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6" h="145">
                  <a:moveTo>
                    <a:pt x="91" y="129"/>
                  </a:moveTo>
                  <a:lnTo>
                    <a:pt x="91" y="129"/>
                  </a:lnTo>
                  <a:cubicBezTo>
                    <a:pt x="81" y="139"/>
                    <a:pt x="69" y="145"/>
                    <a:pt x="53" y="145"/>
                  </a:cubicBezTo>
                  <a:cubicBezTo>
                    <a:pt x="37" y="145"/>
                    <a:pt x="24" y="139"/>
                    <a:pt x="14" y="129"/>
                  </a:cubicBezTo>
                  <a:cubicBezTo>
                    <a:pt x="0" y="115"/>
                    <a:pt x="0" y="97"/>
                    <a:pt x="0" y="72"/>
                  </a:cubicBezTo>
                  <a:cubicBezTo>
                    <a:pt x="0" y="48"/>
                    <a:pt x="0" y="30"/>
                    <a:pt x="14" y="16"/>
                  </a:cubicBezTo>
                  <a:cubicBezTo>
                    <a:pt x="24" y="6"/>
                    <a:pt x="37" y="0"/>
                    <a:pt x="53" y="0"/>
                  </a:cubicBezTo>
                  <a:cubicBezTo>
                    <a:pt x="69" y="0"/>
                    <a:pt x="81" y="6"/>
                    <a:pt x="91" y="16"/>
                  </a:cubicBezTo>
                  <a:cubicBezTo>
                    <a:pt x="106" y="30"/>
                    <a:pt x="105" y="48"/>
                    <a:pt x="105" y="72"/>
                  </a:cubicBezTo>
                  <a:cubicBezTo>
                    <a:pt x="105" y="97"/>
                    <a:pt x="106" y="115"/>
                    <a:pt x="91" y="129"/>
                  </a:cubicBezTo>
                  <a:close/>
                  <a:moveTo>
                    <a:pt x="71" y="32"/>
                  </a:moveTo>
                  <a:lnTo>
                    <a:pt x="71" y="32"/>
                  </a:lnTo>
                  <a:cubicBezTo>
                    <a:pt x="67" y="28"/>
                    <a:pt x="60" y="25"/>
                    <a:pt x="53" y="25"/>
                  </a:cubicBezTo>
                  <a:cubicBezTo>
                    <a:pt x="45" y="25"/>
                    <a:pt x="39" y="28"/>
                    <a:pt x="35" y="32"/>
                  </a:cubicBezTo>
                  <a:cubicBezTo>
                    <a:pt x="29" y="38"/>
                    <a:pt x="28" y="45"/>
                    <a:pt x="28" y="72"/>
                  </a:cubicBezTo>
                  <a:cubicBezTo>
                    <a:pt x="28" y="100"/>
                    <a:pt x="29" y="106"/>
                    <a:pt x="35" y="112"/>
                  </a:cubicBezTo>
                  <a:cubicBezTo>
                    <a:pt x="39" y="117"/>
                    <a:pt x="45" y="120"/>
                    <a:pt x="53" y="120"/>
                  </a:cubicBezTo>
                  <a:cubicBezTo>
                    <a:pt x="60" y="120"/>
                    <a:pt x="67" y="117"/>
                    <a:pt x="71" y="112"/>
                  </a:cubicBezTo>
                  <a:cubicBezTo>
                    <a:pt x="76" y="106"/>
                    <a:pt x="78" y="100"/>
                    <a:pt x="78" y="72"/>
                  </a:cubicBezTo>
                  <a:cubicBezTo>
                    <a:pt x="78" y="45"/>
                    <a:pt x="76" y="38"/>
                    <a:pt x="71" y="3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5" name="Freeform 53"/>
            <p:cNvSpPr>
              <a:spLocks/>
            </p:cNvSpPr>
            <p:nvPr/>
          </p:nvSpPr>
          <p:spPr bwMode="auto">
            <a:xfrm>
              <a:off x="8921750" y="-496888"/>
              <a:ext cx="93663" cy="130175"/>
            </a:xfrm>
            <a:custGeom>
              <a:avLst/>
              <a:gdLst>
                <a:gd name="T0" fmla="*/ 52 w 105"/>
                <a:gd name="T1" fmla="*/ 145 h 145"/>
                <a:gd name="T2" fmla="*/ 52 w 105"/>
                <a:gd name="T3" fmla="*/ 145 h 145"/>
                <a:gd name="T4" fmla="*/ 0 w 105"/>
                <a:gd name="T5" fmla="*/ 126 h 145"/>
                <a:gd name="T6" fmla="*/ 18 w 105"/>
                <a:gd name="T7" fmla="*/ 108 h 145"/>
                <a:gd name="T8" fmla="*/ 53 w 105"/>
                <a:gd name="T9" fmla="*/ 120 h 145"/>
                <a:gd name="T10" fmla="*/ 78 w 105"/>
                <a:gd name="T11" fmla="*/ 102 h 145"/>
                <a:gd name="T12" fmla="*/ 74 w 105"/>
                <a:gd name="T13" fmla="*/ 90 h 145"/>
                <a:gd name="T14" fmla="*/ 61 w 105"/>
                <a:gd name="T15" fmla="*/ 85 h 145"/>
                <a:gd name="T16" fmla="*/ 44 w 105"/>
                <a:gd name="T17" fmla="*/ 83 h 145"/>
                <a:gd name="T18" fmla="*/ 16 w 105"/>
                <a:gd name="T19" fmla="*/ 71 h 145"/>
                <a:gd name="T20" fmla="*/ 6 w 105"/>
                <a:gd name="T21" fmla="*/ 43 h 145"/>
                <a:gd name="T22" fmla="*/ 56 w 105"/>
                <a:gd name="T23" fmla="*/ 0 h 145"/>
                <a:gd name="T24" fmla="*/ 102 w 105"/>
                <a:gd name="T25" fmla="*/ 17 h 145"/>
                <a:gd name="T26" fmla="*/ 84 w 105"/>
                <a:gd name="T27" fmla="*/ 34 h 145"/>
                <a:gd name="T28" fmla="*/ 55 w 105"/>
                <a:gd name="T29" fmla="*/ 24 h 145"/>
                <a:gd name="T30" fmla="*/ 33 w 105"/>
                <a:gd name="T31" fmla="*/ 42 h 145"/>
                <a:gd name="T32" fmla="*/ 37 w 105"/>
                <a:gd name="T33" fmla="*/ 52 h 145"/>
                <a:gd name="T34" fmla="*/ 50 w 105"/>
                <a:gd name="T35" fmla="*/ 58 h 145"/>
                <a:gd name="T36" fmla="*/ 67 w 105"/>
                <a:gd name="T37" fmla="*/ 60 h 145"/>
                <a:gd name="T38" fmla="*/ 94 w 105"/>
                <a:gd name="T39" fmla="*/ 71 h 145"/>
                <a:gd name="T40" fmla="*/ 105 w 105"/>
                <a:gd name="T41" fmla="*/ 102 h 145"/>
                <a:gd name="T42" fmla="*/ 52 w 105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5" h="145">
                  <a:moveTo>
                    <a:pt x="52" y="145"/>
                  </a:moveTo>
                  <a:lnTo>
                    <a:pt x="52" y="145"/>
                  </a:lnTo>
                  <a:cubicBezTo>
                    <a:pt x="31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40" y="120"/>
                    <a:pt x="53" y="120"/>
                  </a:cubicBezTo>
                  <a:cubicBezTo>
                    <a:pt x="69" y="120"/>
                    <a:pt x="78" y="114"/>
                    <a:pt x="78" y="102"/>
                  </a:cubicBezTo>
                  <a:cubicBezTo>
                    <a:pt x="78" y="97"/>
                    <a:pt x="77" y="93"/>
                    <a:pt x="74" y="90"/>
                  </a:cubicBezTo>
                  <a:cubicBezTo>
                    <a:pt x="71" y="88"/>
                    <a:pt x="68" y="86"/>
                    <a:pt x="61" y="85"/>
                  </a:cubicBezTo>
                  <a:lnTo>
                    <a:pt x="44" y="83"/>
                  </a:lnTo>
                  <a:cubicBezTo>
                    <a:pt x="32" y="81"/>
                    <a:pt x="23" y="77"/>
                    <a:pt x="16" y="71"/>
                  </a:cubicBezTo>
                  <a:cubicBezTo>
                    <a:pt x="9" y="65"/>
                    <a:pt x="6" y="55"/>
                    <a:pt x="6" y="43"/>
                  </a:cubicBezTo>
                  <a:cubicBezTo>
                    <a:pt x="6" y="18"/>
                    <a:pt x="25" y="0"/>
                    <a:pt x="56" y="0"/>
                  </a:cubicBezTo>
                  <a:cubicBezTo>
                    <a:pt x="75" y="0"/>
                    <a:pt x="89" y="5"/>
                    <a:pt x="102" y="17"/>
                  </a:cubicBezTo>
                  <a:lnTo>
                    <a:pt x="84" y="34"/>
                  </a:lnTo>
                  <a:cubicBezTo>
                    <a:pt x="75" y="26"/>
                    <a:pt x="64" y="24"/>
                    <a:pt x="55" y="24"/>
                  </a:cubicBezTo>
                  <a:cubicBezTo>
                    <a:pt x="40" y="24"/>
                    <a:pt x="33" y="32"/>
                    <a:pt x="33" y="42"/>
                  </a:cubicBezTo>
                  <a:cubicBezTo>
                    <a:pt x="33" y="46"/>
                    <a:pt x="34" y="50"/>
                    <a:pt x="37" y="52"/>
                  </a:cubicBezTo>
                  <a:cubicBezTo>
                    <a:pt x="40" y="55"/>
                    <a:pt x="44" y="57"/>
                    <a:pt x="50" y="58"/>
                  </a:cubicBezTo>
                  <a:lnTo>
                    <a:pt x="67" y="60"/>
                  </a:lnTo>
                  <a:cubicBezTo>
                    <a:pt x="80" y="62"/>
                    <a:pt x="88" y="66"/>
                    <a:pt x="94" y="71"/>
                  </a:cubicBezTo>
                  <a:cubicBezTo>
                    <a:pt x="102" y="79"/>
                    <a:pt x="105" y="89"/>
                    <a:pt x="105" y="102"/>
                  </a:cubicBezTo>
                  <a:cubicBezTo>
                    <a:pt x="105" y="129"/>
                    <a:pt x="82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6" name="Freeform 54"/>
            <p:cNvSpPr>
              <a:spLocks noEditPoints="1"/>
            </p:cNvSpPr>
            <p:nvPr/>
          </p:nvSpPr>
          <p:spPr bwMode="auto">
            <a:xfrm>
              <a:off x="9024938" y="-495301"/>
              <a:ext cx="112713" cy="128588"/>
            </a:xfrm>
            <a:custGeom>
              <a:avLst/>
              <a:gdLst>
                <a:gd name="T0" fmla="*/ 97 w 126"/>
                <a:gd name="T1" fmla="*/ 143 h 143"/>
                <a:gd name="T2" fmla="*/ 97 w 126"/>
                <a:gd name="T3" fmla="*/ 143 h 143"/>
                <a:gd name="T4" fmla="*/ 89 w 126"/>
                <a:gd name="T5" fmla="*/ 117 h 143"/>
                <a:gd name="T6" fmla="*/ 38 w 126"/>
                <a:gd name="T7" fmla="*/ 117 h 143"/>
                <a:gd name="T8" fmla="*/ 29 w 126"/>
                <a:gd name="T9" fmla="*/ 143 h 143"/>
                <a:gd name="T10" fmla="*/ 0 w 126"/>
                <a:gd name="T11" fmla="*/ 143 h 143"/>
                <a:gd name="T12" fmla="*/ 52 w 126"/>
                <a:gd name="T13" fmla="*/ 0 h 143"/>
                <a:gd name="T14" fmla="*/ 74 w 126"/>
                <a:gd name="T15" fmla="*/ 0 h 143"/>
                <a:gd name="T16" fmla="*/ 126 w 126"/>
                <a:gd name="T17" fmla="*/ 143 h 143"/>
                <a:gd name="T18" fmla="*/ 97 w 126"/>
                <a:gd name="T19" fmla="*/ 143 h 143"/>
                <a:gd name="T20" fmla="*/ 64 w 126"/>
                <a:gd name="T21" fmla="*/ 42 h 143"/>
                <a:gd name="T22" fmla="*/ 64 w 126"/>
                <a:gd name="T23" fmla="*/ 42 h 143"/>
                <a:gd name="T24" fmla="*/ 46 w 126"/>
                <a:gd name="T25" fmla="*/ 94 h 143"/>
                <a:gd name="T26" fmla="*/ 81 w 126"/>
                <a:gd name="T27" fmla="*/ 94 h 143"/>
                <a:gd name="T28" fmla="*/ 64 w 126"/>
                <a:gd name="T29" fmla="*/ 4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6" h="143">
                  <a:moveTo>
                    <a:pt x="97" y="143"/>
                  </a:moveTo>
                  <a:lnTo>
                    <a:pt x="97" y="143"/>
                  </a:lnTo>
                  <a:lnTo>
                    <a:pt x="89" y="117"/>
                  </a:lnTo>
                  <a:lnTo>
                    <a:pt x="38" y="117"/>
                  </a:lnTo>
                  <a:lnTo>
                    <a:pt x="29" y="143"/>
                  </a:lnTo>
                  <a:lnTo>
                    <a:pt x="0" y="143"/>
                  </a:lnTo>
                  <a:lnTo>
                    <a:pt x="52" y="0"/>
                  </a:lnTo>
                  <a:lnTo>
                    <a:pt x="74" y="0"/>
                  </a:lnTo>
                  <a:lnTo>
                    <a:pt x="126" y="143"/>
                  </a:lnTo>
                  <a:lnTo>
                    <a:pt x="97" y="143"/>
                  </a:lnTo>
                  <a:close/>
                  <a:moveTo>
                    <a:pt x="64" y="42"/>
                  </a:moveTo>
                  <a:lnTo>
                    <a:pt x="64" y="42"/>
                  </a:lnTo>
                  <a:lnTo>
                    <a:pt x="46" y="94"/>
                  </a:lnTo>
                  <a:lnTo>
                    <a:pt x="81" y="94"/>
                  </a:lnTo>
                  <a:lnTo>
                    <a:pt x="64" y="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7" name="Freeform 55"/>
            <p:cNvSpPr>
              <a:spLocks/>
            </p:cNvSpPr>
            <p:nvPr/>
          </p:nvSpPr>
          <p:spPr bwMode="auto">
            <a:xfrm>
              <a:off x="9155113" y="-495301"/>
              <a:ext cx="82550" cy="128588"/>
            </a:xfrm>
            <a:custGeom>
              <a:avLst/>
              <a:gdLst>
                <a:gd name="T0" fmla="*/ 0 w 92"/>
                <a:gd name="T1" fmla="*/ 0 h 143"/>
                <a:gd name="T2" fmla="*/ 0 w 92"/>
                <a:gd name="T3" fmla="*/ 0 h 143"/>
                <a:gd name="T4" fmla="*/ 0 w 92"/>
                <a:gd name="T5" fmla="*/ 143 h 143"/>
                <a:gd name="T6" fmla="*/ 92 w 92"/>
                <a:gd name="T7" fmla="*/ 143 h 143"/>
                <a:gd name="T8" fmla="*/ 92 w 92"/>
                <a:gd name="T9" fmla="*/ 118 h 143"/>
                <a:gd name="T10" fmla="*/ 28 w 92"/>
                <a:gd name="T11" fmla="*/ 118 h 143"/>
                <a:gd name="T12" fmla="*/ 28 w 92"/>
                <a:gd name="T13" fmla="*/ 0 h 143"/>
                <a:gd name="T14" fmla="*/ 0 w 92"/>
                <a:gd name="T1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143">
                  <a:moveTo>
                    <a:pt x="0" y="0"/>
                  </a:moveTo>
                  <a:lnTo>
                    <a:pt x="0" y="0"/>
                  </a:lnTo>
                  <a:lnTo>
                    <a:pt x="0" y="143"/>
                  </a:lnTo>
                  <a:lnTo>
                    <a:pt x="92" y="143"/>
                  </a:lnTo>
                  <a:lnTo>
                    <a:pt x="92" y="118"/>
                  </a:lnTo>
                  <a:lnTo>
                    <a:pt x="28" y="118"/>
                  </a:lnTo>
                  <a:lnTo>
                    <a:pt x="2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42" name="Reuse/Disposal"/>
          <p:cNvGrpSpPr/>
          <p:nvPr/>
        </p:nvGrpSpPr>
        <p:grpSpPr>
          <a:xfrm>
            <a:off x="7479799" y="3526618"/>
            <a:ext cx="1170319" cy="125437"/>
            <a:chOff x="7800975" y="-508001"/>
            <a:chExt cx="1436688" cy="153988"/>
          </a:xfrm>
          <a:solidFill>
            <a:schemeClr val="accent3">
              <a:lumMod val="75000"/>
            </a:schemeClr>
          </a:solidFill>
        </p:grpSpPr>
        <p:sp>
          <p:nvSpPr>
            <p:cNvPr id="330" name="Freeform 42"/>
            <p:cNvSpPr>
              <a:spLocks noEditPoints="1"/>
            </p:cNvSpPr>
            <p:nvPr/>
          </p:nvSpPr>
          <p:spPr bwMode="auto">
            <a:xfrm>
              <a:off x="7800975" y="-495301"/>
              <a:ext cx="95250" cy="128588"/>
            </a:xfrm>
            <a:custGeom>
              <a:avLst/>
              <a:gdLst>
                <a:gd name="T0" fmla="*/ 76 w 108"/>
                <a:gd name="T1" fmla="*/ 143 h 143"/>
                <a:gd name="T2" fmla="*/ 76 w 108"/>
                <a:gd name="T3" fmla="*/ 143 h 143"/>
                <a:gd name="T4" fmla="*/ 48 w 108"/>
                <a:gd name="T5" fmla="*/ 86 h 143"/>
                <a:gd name="T6" fmla="*/ 28 w 108"/>
                <a:gd name="T7" fmla="*/ 86 h 143"/>
                <a:gd name="T8" fmla="*/ 28 w 108"/>
                <a:gd name="T9" fmla="*/ 143 h 143"/>
                <a:gd name="T10" fmla="*/ 0 w 108"/>
                <a:gd name="T11" fmla="*/ 143 h 143"/>
                <a:gd name="T12" fmla="*/ 0 w 108"/>
                <a:gd name="T13" fmla="*/ 0 h 143"/>
                <a:gd name="T14" fmla="*/ 56 w 108"/>
                <a:gd name="T15" fmla="*/ 0 h 143"/>
                <a:gd name="T16" fmla="*/ 102 w 108"/>
                <a:gd name="T17" fmla="*/ 44 h 143"/>
                <a:gd name="T18" fmla="*/ 76 w 108"/>
                <a:gd name="T19" fmla="*/ 81 h 143"/>
                <a:gd name="T20" fmla="*/ 108 w 108"/>
                <a:gd name="T21" fmla="*/ 143 h 143"/>
                <a:gd name="T22" fmla="*/ 76 w 108"/>
                <a:gd name="T23" fmla="*/ 143 h 143"/>
                <a:gd name="T24" fmla="*/ 54 w 108"/>
                <a:gd name="T25" fmla="*/ 25 h 143"/>
                <a:gd name="T26" fmla="*/ 54 w 108"/>
                <a:gd name="T27" fmla="*/ 25 h 143"/>
                <a:gd name="T28" fmla="*/ 28 w 108"/>
                <a:gd name="T29" fmla="*/ 25 h 143"/>
                <a:gd name="T30" fmla="*/ 28 w 108"/>
                <a:gd name="T31" fmla="*/ 63 h 143"/>
                <a:gd name="T32" fmla="*/ 54 w 108"/>
                <a:gd name="T33" fmla="*/ 63 h 143"/>
                <a:gd name="T34" fmla="*/ 74 w 108"/>
                <a:gd name="T35" fmla="*/ 44 h 143"/>
                <a:gd name="T36" fmla="*/ 54 w 108"/>
                <a:gd name="T37" fmla="*/ 2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8" h="143">
                  <a:moveTo>
                    <a:pt x="76" y="143"/>
                  </a:moveTo>
                  <a:lnTo>
                    <a:pt x="76" y="143"/>
                  </a:lnTo>
                  <a:lnTo>
                    <a:pt x="48" y="86"/>
                  </a:lnTo>
                  <a:lnTo>
                    <a:pt x="28" y="86"/>
                  </a:lnTo>
                  <a:lnTo>
                    <a:pt x="28" y="143"/>
                  </a:lnTo>
                  <a:lnTo>
                    <a:pt x="0" y="143"/>
                  </a:lnTo>
                  <a:lnTo>
                    <a:pt x="0" y="0"/>
                  </a:lnTo>
                  <a:lnTo>
                    <a:pt x="56" y="0"/>
                  </a:lnTo>
                  <a:cubicBezTo>
                    <a:pt x="85" y="0"/>
                    <a:pt x="102" y="20"/>
                    <a:pt x="102" y="44"/>
                  </a:cubicBezTo>
                  <a:cubicBezTo>
                    <a:pt x="102" y="64"/>
                    <a:pt x="90" y="76"/>
                    <a:pt x="76" y="81"/>
                  </a:cubicBezTo>
                  <a:lnTo>
                    <a:pt x="108" y="143"/>
                  </a:lnTo>
                  <a:lnTo>
                    <a:pt x="76" y="143"/>
                  </a:lnTo>
                  <a:close/>
                  <a:moveTo>
                    <a:pt x="54" y="25"/>
                  </a:moveTo>
                  <a:lnTo>
                    <a:pt x="54" y="25"/>
                  </a:lnTo>
                  <a:lnTo>
                    <a:pt x="28" y="25"/>
                  </a:lnTo>
                  <a:lnTo>
                    <a:pt x="28" y="63"/>
                  </a:lnTo>
                  <a:lnTo>
                    <a:pt x="54" y="63"/>
                  </a:lnTo>
                  <a:cubicBezTo>
                    <a:pt x="66" y="63"/>
                    <a:pt x="74" y="55"/>
                    <a:pt x="74" y="44"/>
                  </a:cubicBezTo>
                  <a:cubicBezTo>
                    <a:pt x="74" y="33"/>
                    <a:pt x="66" y="25"/>
                    <a:pt x="54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1" name="Freeform 43"/>
            <p:cNvSpPr>
              <a:spLocks/>
            </p:cNvSpPr>
            <p:nvPr/>
          </p:nvSpPr>
          <p:spPr bwMode="auto">
            <a:xfrm>
              <a:off x="7916863" y="-495301"/>
              <a:ext cx="84138" cy="128588"/>
            </a:xfrm>
            <a:custGeom>
              <a:avLst/>
              <a:gdLst>
                <a:gd name="T0" fmla="*/ 0 w 94"/>
                <a:gd name="T1" fmla="*/ 143 h 143"/>
                <a:gd name="T2" fmla="*/ 0 w 94"/>
                <a:gd name="T3" fmla="*/ 143 h 143"/>
                <a:gd name="T4" fmla="*/ 0 w 94"/>
                <a:gd name="T5" fmla="*/ 0 h 143"/>
                <a:gd name="T6" fmla="*/ 94 w 94"/>
                <a:gd name="T7" fmla="*/ 0 h 143"/>
                <a:gd name="T8" fmla="*/ 94 w 94"/>
                <a:gd name="T9" fmla="*/ 25 h 143"/>
                <a:gd name="T10" fmla="*/ 28 w 94"/>
                <a:gd name="T11" fmla="*/ 25 h 143"/>
                <a:gd name="T12" fmla="*/ 28 w 94"/>
                <a:gd name="T13" fmla="*/ 59 h 143"/>
                <a:gd name="T14" fmla="*/ 84 w 94"/>
                <a:gd name="T15" fmla="*/ 59 h 143"/>
                <a:gd name="T16" fmla="*/ 84 w 94"/>
                <a:gd name="T17" fmla="*/ 83 h 143"/>
                <a:gd name="T18" fmla="*/ 28 w 94"/>
                <a:gd name="T19" fmla="*/ 83 h 143"/>
                <a:gd name="T20" fmla="*/ 28 w 94"/>
                <a:gd name="T21" fmla="*/ 118 h 143"/>
                <a:gd name="T22" fmla="*/ 94 w 94"/>
                <a:gd name="T23" fmla="*/ 118 h 143"/>
                <a:gd name="T24" fmla="*/ 94 w 94"/>
                <a:gd name="T25" fmla="*/ 143 h 143"/>
                <a:gd name="T26" fmla="*/ 0 w 94"/>
                <a:gd name="T27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4" h="143">
                  <a:moveTo>
                    <a:pt x="0" y="143"/>
                  </a:moveTo>
                  <a:lnTo>
                    <a:pt x="0" y="14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25"/>
                  </a:lnTo>
                  <a:lnTo>
                    <a:pt x="28" y="25"/>
                  </a:lnTo>
                  <a:lnTo>
                    <a:pt x="28" y="59"/>
                  </a:lnTo>
                  <a:lnTo>
                    <a:pt x="84" y="59"/>
                  </a:lnTo>
                  <a:lnTo>
                    <a:pt x="84" y="83"/>
                  </a:lnTo>
                  <a:lnTo>
                    <a:pt x="28" y="83"/>
                  </a:lnTo>
                  <a:lnTo>
                    <a:pt x="28" y="118"/>
                  </a:lnTo>
                  <a:lnTo>
                    <a:pt x="94" y="118"/>
                  </a:lnTo>
                  <a:lnTo>
                    <a:pt x="94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2" name="Freeform 44"/>
            <p:cNvSpPr>
              <a:spLocks/>
            </p:cNvSpPr>
            <p:nvPr/>
          </p:nvSpPr>
          <p:spPr bwMode="auto">
            <a:xfrm>
              <a:off x="8021638" y="-495301"/>
              <a:ext cx="93663" cy="128588"/>
            </a:xfrm>
            <a:custGeom>
              <a:avLst/>
              <a:gdLst>
                <a:gd name="T0" fmla="*/ 53 w 105"/>
                <a:gd name="T1" fmla="*/ 144 h 144"/>
                <a:gd name="T2" fmla="*/ 53 w 105"/>
                <a:gd name="T3" fmla="*/ 144 h 144"/>
                <a:gd name="T4" fmla="*/ 0 w 105"/>
                <a:gd name="T5" fmla="*/ 94 h 144"/>
                <a:gd name="T6" fmla="*/ 0 w 105"/>
                <a:gd name="T7" fmla="*/ 0 h 144"/>
                <a:gd name="T8" fmla="*/ 28 w 105"/>
                <a:gd name="T9" fmla="*/ 0 h 144"/>
                <a:gd name="T10" fmla="*/ 28 w 105"/>
                <a:gd name="T11" fmla="*/ 93 h 144"/>
                <a:gd name="T12" fmla="*/ 53 w 105"/>
                <a:gd name="T13" fmla="*/ 119 h 144"/>
                <a:gd name="T14" fmla="*/ 77 w 105"/>
                <a:gd name="T15" fmla="*/ 93 h 144"/>
                <a:gd name="T16" fmla="*/ 77 w 105"/>
                <a:gd name="T17" fmla="*/ 0 h 144"/>
                <a:gd name="T18" fmla="*/ 105 w 105"/>
                <a:gd name="T19" fmla="*/ 0 h 144"/>
                <a:gd name="T20" fmla="*/ 105 w 105"/>
                <a:gd name="T21" fmla="*/ 94 h 144"/>
                <a:gd name="T22" fmla="*/ 53 w 105"/>
                <a:gd name="T2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5" h="144">
                  <a:moveTo>
                    <a:pt x="53" y="144"/>
                  </a:moveTo>
                  <a:lnTo>
                    <a:pt x="53" y="144"/>
                  </a:lnTo>
                  <a:cubicBezTo>
                    <a:pt x="23" y="144"/>
                    <a:pt x="0" y="124"/>
                    <a:pt x="0" y="94"/>
                  </a:cubicBezTo>
                  <a:lnTo>
                    <a:pt x="0" y="0"/>
                  </a:lnTo>
                  <a:lnTo>
                    <a:pt x="28" y="0"/>
                  </a:lnTo>
                  <a:lnTo>
                    <a:pt x="28" y="93"/>
                  </a:lnTo>
                  <a:cubicBezTo>
                    <a:pt x="28" y="109"/>
                    <a:pt x="38" y="119"/>
                    <a:pt x="53" y="119"/>
                  </a:cubicBezTo>
                  <a:cubicBezTo>
                    <a:pt x="68" y="119"/>
                    <a:pt x="77" y="109"/>
                    <a:pt x="77" y="93"/>
                  </a:cubicBezTo>
                  <a:lnTo>
                    <a:pt x="77" y="0"/>
                  </a:lnTo>
                  <a:lnTo>
                    <a:pt x="105" y="0"/>
                  </a:lnTo>
                  <a:lnTo>
                    <a:pt x="105" y="94"/>
                  </a:lnTo>
                  <a:cubicBezTo>
                    <a:pt x="105" y="124"/>
                    <a:pt x="82" y="144"/>
                    <a:pt x="53" y="1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3" name="Freeform 45"/>
            <p:cNvSpPr>
              <a:spLocks/>
            </p:cNvSpPr>
            <p:nvPr/>
          </p:nvSpPr>
          <p:spPr bwMode="auto">
            <a:xfrm>
              <a:off x="8131175" y="-496888"/>
              <a:ext cx="92075" cy="130175"/>
            </a:xfrm>
            <a:custGeom>
              <a:avLst/>
              <a:gdLst>
                <a:gd name="T0" fmla="*/ 52 w 104"/>
                <a:gd name="T1" fmla="*/ 145 h 145"/>
                <a:gd name="T2" fmla="*/ 52 w 104"/>
                <a:gd name="T3" fmla="*/ 145 h 145"/>
                <a:gd name="T4" fmla="*/ 0 w 104"/>
                <a:gd name="T5" fmla="*/ 126 h 145"/>
                <a:gd name="T6" fmla="*/ 18 w 104"/>
                <a:gd name="T7" fmla="*/ 108 h 145"/>
                <a:gd name="T8" fmla="*/ 52 w 104"/>
                <a:gd name="T9" fmla="*/ 120 h 145"/>
                <a:gd name="T10" fmla="*/ 77 w 104"/>
                <a:gd name="T11" fmla="*/ 102 h 145"/>
                <a:gd name="T12" fmla="*/ 73 w 104"/>
                <a:gd name="T13" fmla="*/ 90 h 145"/>
                <a:gd name="T14" fmla="*/ 60 w 104"/>
                <a:gd name="T15" fmla="*/ 85 h 145"/>
                <a:gd name="T16" fmla="*/ 43 w 104"/>
                <a:gd name="T17" fmla="*/ 83 h 145"/>
                <a:gd name="T18" fmla="*/ 15 w 104"/>
                <a:gd name="T19" fmla="*/ 71 h 145"/>
                <a:gd name="T20" fmla="*/ 5 w 104"/>
                <a:gd name="T21" fmla="*/ 43 h 145"/>
                <a:gd name="T22" fmla="*/ 55 w 104"/>
                <a:gd name="T23" fmla="*/ 0 h 145"/>
                <a:gd name="T24" fmla="*/ 101 w 104"/>
                <a:gd name="T25" fmla="*/ 17 h 145"/>
                <a:gd name="T26" fmla="*/ 83 w 104"/>
                <a:gd name="T27" fmla="*/ 34 h 145"/>
                <a:gd name="T28" fmla="*/ 54 w 104"/>
                <a:gd name="T29" fmla="*/ 24 h 145"/>
                <a:gd name="T30" fmla="*/ 32 w 104"/>
                <a:gd name="T31" fmla="*/ 42 h 145"/>
                <a:gd name="T32" fmla="*/ 36 w 104"/>
                <a:gd name="T33" fmla="*/ 52 h 145"/>
                <a:gd name="T34" fmla="*/ 49 w 104"/>
                <a:gd name="T35" fmla="*/ 58 h 145"/>
                <a:gd name="T36" fmla="*/ 66 w 104"/>
                <a:gd name="T37" fmla="*/ 60 h 145"/>
                <a:gd name="T38" fmla="*/ 93 w 104"/>
                <a:gd name="T39" fmla="*/ 71 h 145"/>
                <a:gd name="T40" fmla="*/ 104 w 104"/>
                <a:gd name="T41" fmla="*/ 102 h 145"/>
                <a:gd name="T42" fmla="*/ 52 w 104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4" h="145">
                  <a:moveTo>
                    <a:pt x="52" y="145"/>
                  </a:moveTo>
                  <a:lnTo>
                    <a:pt x="52" y="145"/>
                  </a:lnTo>
                  <a:cubicBezTo>
                    <a:pt x="30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39" y="120"/>
                    <a:pt x="52" y="120"/>
                  </a:cubicBezTo>
                  <a:cubicBezTo>
                    <a:pt x="68" y="120"/>
                    <a:pt x="77" y="114"/>
                    <a:pt x="77" y="102"/>
                  </a:cubicBezTo>
                  <a:cubicBezTo>
                    <a:pt x="77" y="97"/>
                    <a:pt x="76" y="93"/>
                    <a:pt x="73" y="90"/>
                  </a:cubicBezTo>
                  <a:cubicBezTo>
                    <a:pt x="70" y="88"/>
                    <a:pt x="67" y="86"/>
                    <a:pt x="60" y="85"/>
                  </a:cubicBezTo>
                  <a:lnTo>
                    <a:pt x="43" y="83"/>
                  </a:lnTo>
                  <a:cubicBezTo>
                    <a:pt x="31" y="81"/>
                    <a:pt x="22" y="77"/>
                    <a:pt x="15" y="71"/>
                  </a:cubicBezTo>
                  <a:cubicBezTo>
                    <a:pt x="9" y="65"/>
                    <a:pt x="5" y="55"/>
                    <a:pt x="5" y="43"/>
                  </a:cubicBezTo>
                  <a:cubicBezTo>
                    <a:pt x="5" y="18"/>
                    <a:pt x="24" y="0"/>
                    <a:pt x="55" y="0"/>
                  </a:cubicBezTo>
                  <a:cubicBezTo>
                    <a:pt x="74" y="0"/>
                    <a:pt x="89" y="5"/>
                    <a:pt x="101" y="17"/>
                  </a:cubicBezTo>
                  <a:lnTo>
                    <a:pt x="83" y="34"/>
                  </a:lnTo>
                  <a:cubicBezTo>
                    <a:pt x="74" y="26"/>
                    <a:pt x="63" y="24"/>
                    <a:pt x="54" y="24"/>
                  </a:cubicBezTo>
                  <a:cubicBezTo>
                    <a:pt x="39" y="24"/>
                    <a:pt x="32" y="32"/>
                    <a:pt x="32" y="42"/>
                  </a:cubicBezTo>
                  <a:cubicBezTo>
                    <a:pt x="32" y="46"/>
                    <a:pt x="33" y="50"/>
                    <a:pt x="36" y="52"/>
                  </a:cubicBezTo>
                  <a:cubicBezTo>
                    <a:pt x="39" y="55"/>
                    <a:pt x="44" y="57"/>
                    <a:pt x="49" y="58"/>
                  </a:cubicBezTo>
                  <a:lnTo>
                    <a:pt x="66" y="60"/>
                  </a:lnTo>
                  <a:cubicBezTo>
                    <a:pt x="79" y="62"/>
                    <a:pt x="87" y="66"/>
                    <a:pt x="93" y="71"/>
                  </a:cubicBezTo>
                  <a:cubicBezTo>
                    <a:pt x="101" y="79"/>
                    <a:pt x="104" y="89"/>
                    <a:pt x="104" y="102"/>
                  </a:cubicBezTo>
                  <a:cubicBezTo>
                    <a:pt x="104" y="129"/>
                    <a:pt x="81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4" name="Freeform 46"/>
            <p:cNvSpPr>
              <a:spLocks/>
            </p:cNvSpPr>
            <p:nvPr/>
          </p:nvSpPr>
          <p:spPr bwMode="auto">
            <a:xfrm>
              <a:off x="8245475" y="-495301"/>
              <a:ext cx="84138" cy="128588"/>
            </a:xfrm>
            <a:custGeom>
              <a:avLst/>
              <a:gdLst>
                <a:gd name="T0" fmla="*/ 0 w 93"/>
                <a:gd name="T1" fmla="*/ 143 h 143"/>
                <a:gd name="T2" fmla="*/ 0 w 93"/>
                <a:gd name="T3" fmla="*/ 143 h 143"/>
                <a:gd name="T4" fmla="*/ 0 w 93"/>
                <a:gd name="T5" fmla="*/ 0 h 143"/>
                <a:gd name="T6" fmla="*/ 93 w 93"/>
                <a:gd name="T7" fmla="*/ 0 h 143"/>
                <a:gd name="T8" fmla="*/ 93 w 93"/>
                <a:gd name="T9" fmla="*/ 25 h 143"/>
                <a:gd name="T10" fmla="*/ 27 w 93"/>
                <a:gd name="T11" fmla="*/ 25 h 143"/>
                <a:gd name="T12" fmla="*/ 27 w 93"/>
                <a:gd name="T13" fmla="*/ 59 h 143"/>
                <a:gd name="T14" fmla="*/ 84 w 93"/>
                <a:gd name="T15" fmla="*/ 59 h 143"/>
                <a:gd name="T16" fmla="*/ 84 w 93"/>
                <a:gd name="T17" fmla="*/ 83 h 143"/>
                <a:gd name="T18" fmla="*/ 27 w 93"/>
                <a:gd name="T19" fmla="*/ 83 h 143"/>
                <a:gd name="T20" fmla="*/ 27 w 93"/>
                <a:gd name="T21" fmla="*/ 118 h 143"/>
                <a:gd name="T22" fmla="*/ 93 w 93"/>
                <a:gd name="T23" fmla="*/ 118 h 143"/>
                <a:gd name="T24" fmla="*/ 93 w 93"/>
                <a:gd name="T25" fmla="*/ 143 h 143"/>
                <a:gd name="T26" fmla="*/ 0 w 93"/>
                <a:gd name="T27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3" h="143">
                  <a:moveTo>
                    <a:pt x="0" y="143"/>
                  </a:moveTo>
                  <a:lnTo>
                    <a:pt x="0" y="143"/>
                  </a:lnTo>
                  <a:lnTo>
                    <a:pt x="0" y="0"/>
                  </a:lnTo>
                  <a:lnTo>
                    <a:pt x="93" y="0"/>
                  </a:lnTo>
                  <a:lnTo>
                    <a:pt x="93" y="25"/>
                  </a:lnTo>
                  <a:lnTo>
                    <a:pt x="27" y="25"/>
                  </a:lnTo>
                  <a:lnTo>
                    <a:pt x="27" y="59"/>
                  </a:lnTo>
                  <a:lnTo>
                    <a:pt x="84" y="59"/>
                  </a:lnTo>
                  <a:lnTo>
                    <a:pt x="84" y="83"/>
                  </a:lnTo>
                  <a:lnTo>
                    <a:pt x="27" y="83"/>
                  </a:lnTo>
                  <a:lnTo>
                    <a:pt x="27" y="118"/>
                  </a:lnTo>
                  <a:lnTo>
                    <a:pt x="93" y="118"/>
                  </a:lnTo>
                  <a:lnTo>
                    <a:pt x="93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5" name="Freeform 47"/>
            <p:cNvSpPr>
              <a:spLocks/>
            </p:cNvSpPr>
            <p:nvPr/>
          </p:nvSpPr>
          <p:spPr bwMode="auto">
            <a:xfrm>
              <a:off x="8342313" y="-508001"/>
              <a:ext cx="71438" cy="153988"/>
            </a:xfrm>
            <a:custGeom>
              <a:avLst/>
              <a:gdLst>
                <a:gd name="T0" fmla="*/ 57 w 81"/>
                <a:gd name="T1" fmla="*/ 0 h 172"/>
                <a:gd name="T2" fmla="*/ 57 w 81"/>
                <a:gd name="T3" fmla="*/ 0 h 172"/>
                <a:gd name="T4" fmla="*/ 0 w 81"/>
                <a:gd name="T5" fmla="*/ 172 h 172"/>
                <a:gd name="T6" fmla="*/ 24 w 81"/>
                <a:gd name="T7" fmla="*/ 172 h 172"/>
                <a:gd name="T8" fmla="*/ 81 w 81"/>
                <a:gd name="T9" fmla="*/ 0 h 172"/>
                <a:gd name="T10" fmla="*/ 57 w 81"/>
                <a:gd name="T11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172">
                  <a:moveTo>
                    <a:pt x="57" y="0"/>
                  </a:moveTo>
                  <a:lnTo>
                    <a:pt x="57" y="0"/>
                  </a:lnTo>
                  <a:lnTo>
                    <a:pt x="0" y="172"/>
                  </a:lnTo>
                  <a:lnTo>
                    <a:pt x="24" y="172"/>
                  </a:lnTo>
                  <a:lnTo>
                    <a:pt x="81" y="0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6" name="Freeform 48"/>
            <p:cNvSpPr>
              <a:spLocks noEditPoints="1"/>
            </p:cNvSpPr>
            <p:nvPr/>
          </p:nvSpPr>
          <p:spPr bwMode="auto">
            <a:xfrm>
              <a:off x="8429625" y="-495301"/>
              <a:ext cx="93663" cy="128588"/>
            </a:xfrm>
            <a:custGeom>
              <a:avLst/>
              <a:gdLst>
                <a:gd name="T0" fmla="*/ 89 w 105"/>
                <a:gd name="T1" fmla="*/ 129 h 143"/>
                <a:gd name="T2" fmla="*/ 89 w 105"/>
                <a:gd name="T3" fmla="*/ 129 h 143"/>
                <a:gd name="T4" fmla="*/ 51 w 105"/>
                <a:gd name="T5" fmla="*/ 143 h 143"/>
                <a:gd name="T6" fmla="*/ 0 w 105"/>
                <a:gd name="T7" fmla="*/ 143 h 143"/>
                <a:gd name="T8" fmla="*/ 0 w 105"/>
                <a:gd name="T9" fmla="*/ 0 h 143"/>
                <a:gd name="T10" fmla="*/ 51 w 105"/>
                <a:gd name="T11" fmla="*/ 0 h 143"/>
                <a:gd name="T12" fmla="*/ 89 w 105"/>
                <a:gd name="T13" fmla="*/ 14 h 143"/>
                <a:gd name="T14" fmla="*/ 103 w 105"/>
                <a:gd name="T15" fmla="*/ 71 h 143"/>
                <a:gd name="T16" fmla="*/ 89 w 105"/>
                <a:gd name="T17" fmla="*/ 129 h 143"/>
                <a:gd name="T18" fmla="*/ 69 w 105"/>
                <a:gd name="T19" fmla="*/ 34 h 143"/>
                <a:gd name="T20" fmla="*/ 69 w 105"/>
                <a:gd name="T21" fmla="*/ 34 h 143"/>
                <a:gd name="T22" fmla="*/ 48 w 105"/>
                <a:gd name="T23" fmla="*/ 25 h 143"/>
                <a:gd name="T24" fmla="*/ 27 w 105"/>
                <a:gd name="T25" fmla="*/ 25 h 143"/>
                <a:gd name="T26" fmla="*/ 27 w 105"/>
                <a:gd name="T27" fmla="*/ 118 h 143"/>
                <a:gd name="T28" fmla="*/ 48 w 105"/>
                <a:gd name="T29" fmla="*/ 118 h 143"/>
                <a:gd name="T30" fmla="*/ 69 w 105"/>
                <a:gd name="T31" fmla="*/ 109 h 143"/>
                <a:gd name="T32" fmla="*/ 75 w 105"/>
                <a:gd name="T33" fmla="*/ 71 h 143"/>
                <a:gd name="T34" fmla="*/ 69 w 105"/>
                <a:gd name="T35" fmla="*/ 3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" h="143">
                  <a:moveTo>
                    <a:pt x="89" y="129"/>
                  </a:moveTo>
                  <a:lnTo>
                    <a:pt x="89" y="129"/>
                  </a:lnTo>
                  <a:cubicBezTo>
                    <a:pt x="79" y="138"/>
                    <a:pt x="66" y="143"/>
                    <a:pt x="51" y="143"/>
                  </a:cubicBezTo>
                  <a:lnTo>
                    <a:pt x="0" y="143"/>
                  </a:lnTo>
                  <a:lnTo>
                    <a:pt x="0" y="0"/>
                  </a:lnTo>
                  <a:lnTo>
                    <a:pt x="51" y="0"/>
                  </a:lnTo>
                  <a:cubicBezTo>
                    <a:pt x="66" y="0"/>
                    <a:pt x="79" y="5"/>
                    <a:pt x="89" y="14"/>
                  </a:cubicBezTo>
                  <a:cubicBezTo>
                    <a:pt x="105" y="30"/>
                    <a:pt x="103" y="50"/>
                    <a:pt x="103" y="71"/>
                  </a:cubicBezTo>
                  <a:cubicBezTo>
                    <a:pt x="103" y="92"/>
                    <a:pt x="105" y="113"/>
                    <a:pt x="89" y="129"/>
                  </a:cubicBezTo>
                  <a:close/>
                  <a:moveTo>
                    <a:pt x="69" y="34"/>
                  </a:moveTo>
                  <a:lnTo>
                    <a:pt x="69" y="34"/>
                  </a:lnTo>
                  <a:cubicBezTo>
                    <a:pt x="64" y="28"/>
                    <a:pt x="58" y="25"/>
                    <a:pt x="48" y="25"/>
                  </a:cubicBezTo>
                  <a:lnTo>
                    <a:pt x="27" y="25"/>
                  </a:lnTo>
                  <a:lnTo>
                    <a:pt x="27" y="118"/>
                  </a:lnTo>
                  <a:lnTo>
                    <a:pt x="48" y="118"/>
                  </a:lnTo>
                  <a:cubicBezTo>
                    <a:pt x="58" y="118"/>
                    <a:pt x="64" y="115"/>
                    <a:pt x="69" y="109"/>
                  </a:cubicBezTo>
                  <a:cubicBezTo>
                    <a:pt x="74" y="103"/>
                    <a:pt x="75" y="93"/>
                    <a:pt x="75" y="71"/>
                  </a:cubicBezTo>
                  <a:cubicBezTo>
                    <a:pt x="75" y="49"/>
                    <a:pt x="74" y="40"/>
                    <a:pt x="69" y="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7" name="Freeform 49"/>
            <p:cNvSpPr>
              <a:spLocks/>
            </p:cNvSpPr>
            <p:nvPr/>
          </p:nvSpPr>
          <p:spPr bwMode="auto">
            <a:xfrm>
              <a:off x="8545513" y="-495301"/>
              <a:ext cx="25400" cy="128588"/>
            </a:xfrm>
            <a:custGeom>
              <a:avLst/>
              <a:gdLst>
                <a:gd name="T0" fmla="*/ 0 w 27"/>
                <a:gd name="T1" fmla="*/ 0 h 143"/>
                <a:gd name="T2" fmla="*/ 0 w 27"/>
                <a:gd name="T3" fmla="*/ 0 h 143"/>
                <a:gd name="T4" fmla="*/ 27 w 27"/>
                <a:gd name="T5" fmla="*/ 0 h 143"/>
                <a:gd name="T6" fmla="*/ 27 w 27"/>
                <a:gd name="T7" fmla="*/ 143 h 143"/>
                <a:gd name="T8" fmla="*/ 0 w 27"/>
                <a:gd name="T9" fmla="*/ 143 h 143"/>
                <a:gd name="T10" fmla="*/ 0 w 27"/>
                <a:gd name="T11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143">
                  <a:moveTo>
                    <a:pt x="0" y="0"/>
                  </a:moveTo>
                  <a:lnTo>
                    <a:pt x="0" y="0"/>
                  </a:lnTo>
                  <a:lnTo>
                    <a:pt x="27" y="0"/>
                  </a:lnTo>
                  <a:lnTo>
                    <a:pt x="27" y="143"/>
                  </a:lnTo>
                  <a:lnTo>
                    <a:pt x="0" y="14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8" name="Freeform 50"/>
            <p:cNvSpPr>
              <a:spLocks/>
            </p:cNvSpPr>
            <p:nvPr/>
          </p:nvSpPr>
          <p:spPr bwMode="auto">
            <a:xfrm>
              <a:off x="8589963" y="-496888"/>
              <a:ext cx="92075" cy="130175"/>
            </a:xfrm>
            <a:custGeom>
              <a:avLst/>
              <a:gdLst>
                <a:gd name="T0" fmla="*/ 52 w 104"/>
                <a:gd name="T1" fmla="*/ 145 h 145"/>
                <a:gd name="T2" fmla="*/ 52 w 104"/>
                <a:gd name="T3" fmla="*/ 145 h 145"/>
                <a:gd name="T4" fmla="*/ 0 w 104"/>
                <a:gd name="T5" fmla="*/ 126 h 145"/>
                <a:gd name="T6" fmla="*/ 18 w 104"/>
                <a:gd name="T7" fmla="*/ 108 h 145"/>
                <a:gd name="T8" fmla="*/ 52 w 104"/>
                <a:gd name="T9" fmla="*/ 120 h 145"/>
                <a:gd name="T10" fmla="*/ 77 w 104"/>
                <a:gd name="T11" fmla="*/ 102 h 145"/>
                <a:gd name="T12" fmla="*/ 73 w 104"/>
                <a:gd name="T13" fmla="*/ 90 h 145"/>
                <a:gd name="T14" fmla="*/ 60 w 104"/>
                <a:gd name="T15" fmla="*/ 85 h 145"/>
                <a:gd name="T16" fmla="*/ 43 w 104"/>
                <a:gd name="T17" fmla="*/ 83 h 145"/>
                <a:gd name="T18" fmla="*/ 15 w 104"/>
                <a:gd name="T19" fmla="*/ 71 h 145"/>
                <a:gd name="T20" fmla="*/ 5 w 104"/>
                <a:gd name="T21" fmla="*/ 43 h 145"/>
                <a:gd name="T22" fmla="*/ 55 w 104"/>
                <a:gd name="T23" fmla="*/ 0 h 145"/>
                <a:gd name="T24" fmla="*/ 101 w 104"/>
                <a:gd name="T25" fmla="*/ 17 h 145"/>
                <a:gd name="T26" fmla="*/ 83 w 104"/>
                <a:gd name="T27" fmla="*/ 34 h 145"/>
                <a:gd name="T28" fmla="*/ 54 w 104"/>
                <a:gd name="T29" fmla="*/ 24 h 145"/>
                <a:gd name="T30" fmla="*/ 32 w 104"/>
                <a:gd name="T31" fmla="*/ 42 h 145"/>
                <a:gd name="T32" fmla="*/ 36 w 104"/>
                <a:gd name="T33" fmla="*/ 52 h 145"/>
                <a:gd name="T34" fmla="*/ 49 w 104"/>
                <a:gd name="T35" fmla="*/ 58 h 145"/>
                <a:gd name="T36" fmla="*/ 66 w 104"/>
                <a:gd name="T37" fmla="*/ 60 h 145"/>
                <a:gd name="T38" fmla="*/ 93 w 104"/>
                <a:gd name="T39" fmla="*/ 71 h 145"/>
                <a:gd name="T40" fmla="*/ 104 w 104"/>
                <a:gd name="T41" fmla="*/ 102 h 145"/>
                <a:gd name="T42" fmla="*/ 52 w 104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4" h="145">
                  <a:moveTo>
                    <a:pt x="52" y="145"/>
                  </a:moveTo>
                  <a:lnTo>
                    <a:pt x="52" y="145"/>
                  </a:lnTo>
                  <a:cubicBezTo>
                    <a:pt x="30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39" y="120"/>
                    <a:pt x="52" y="120"/>
                  </a:cubicBezTo>
                  <a:cubicBezTo>
                    <a:pt x="68" y="120"/>
                    <a:pt x="77" y="114"/>
                    <a:pt x="77" y="102"/>
                  </a:cubicBezTo>
                  <a:cubicBezTo>
                    <a:pt x="77" y="97"/>
                    <a:pt x="76" y="93"/>
                    <a:pt x="73" y="90"/>
                  </a:cubicBezTo>
                  <a:cubicBezTo>
                    <a:pt x="70" y="88"/>
                    <a:pt x="67" y="86"/>
                    <a:pt x="60" y="85"/>
                  </a:cubicBezTo>
                  <a:lnTo>
                    <a:pt x="43" y="83"/>
                  </a:lnTo>
                  <a:cubicBezTo>
                    <a:pt x="31" y="81"/>
                    <a:pt x="22" y="77"/>
                    <a:pt x="15" y="71"/>
                  </a:cubicBezTo>
                  <a:cubicBezTo>
                    <a:pt x="9" y="65"/>
                    <a:pt x="5" y="55"/>
                    <a:pt x="5" y="43"/>
                  </a:cubicBezTo>
                  <a:cubicBezTo>
                    <a:pt x="5" y="18"/>
                    <a:pt x="24" y="0"/>
                    <a:pt x="55" y="0"/>
                  </a:cubicBezTo>
                  <a:cubicBezTo>
                    <a:pt x="74" y="0"/>
                    <a:pt x="89" y="5"/>
                    <a:pt x="101" y="17"/>
                  </a:cubicBezTo>
                  <a:lnTo>
                    <a:pt x="83" y="34"/>
                  </a:lnTo>
                  <a:cubicBezTo>
                    <a:pt x="74" y="26"/>
                    <a:pt x="63" y="24"/>
                    <a:pt x="54" y="24"/>
                  </a:cubicBezTo>
                  <a:cubicBezTo>
                    <a:pt x="39" y="24"/>
                    <a:pt x="32" y="32"/>
                    <a:pt x="32" y="42"/>
                  </a:cubicBezTo>
                  <a:cubicBezTo>
                    <a:pt x="32" y="46"/>
                    <a:pt x="33" y="50"/>
                    <a:pt x="36" y="52"/>
                  </a:cubicBezTo>
                  <a:cubicBezTo>
                    <a:pt x="39" y="55"/>
                    <a:pt x="44" y="57"/>
                    <a:pt x="49" y="58"/>
                  </a:cubicBezTo>
                  <a:lnTo>
                    <a:pt x="66" y="60"/>
                  </a:lnTo>
                  <a:cubicBezTo>
                    <a:pt x="79" y="62"/>
                    <a:pt x="87" y="66"/>
                    <a:pt x="93" y="71"/>
                  </a:cubicBezTo>
                  <a:cubicBezTo>
                    <a:pt x="101" y="79"/>
                    <a:pt x="104" y="89"/>
                    <a:pt x="104" y="102"/>
                  </a:cubicBezTo>
                  <a:cubicBezTo>
                    <a:pt x="104" y="129"/>
                    <a:pt x="81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9" name="Freeform 51"/>
            <p:cNvSpPr>
              <a:spLocks noEditPoints="1"/>
            </p:cNvSpPr>
            <p:nvPr/>
          </p:nvSpPr>
          <p:spPr bwMode="auto">
            <a:xfrm>
              <a:off x="8704263" y="-495301"/>
              <a:ext cx="92075" cy="128588"/>
            </a:xfrm>
            <a:custGeom>
              <a:avLst/>
              <a:gdLst>
                <a:gd name="T0" fmla="*/ 55 w 102"/>
                <a:gd name="T1" fmla="*/ 89 h 143"/>
                <a:gd name="T2" fmla="*/ 55 w 102"/>
                <a:gd name="T3" fmla="*/ 89 h 143"/>
                <a:gd name="T4" fmla="*/ 27 w 102"/>
                <a:gd name="T5" fmla="*/ 89 h 143"/>
                <a:gd name="T6" fmla="*/ 27 w 102"/>
                <a:gd name="T7" fmla="*/ 143 h 143"/>
                <a:gd name="T8" fmla="*/ 0 w 102"/>
                <a:gd name="T9" fmla="*/ 143 h 143"/>
                <a:gd name="T10" fmla="*/ 0 w 102"/>
                <a:gd name="T11" fmla="*/ 0 h 143"/>
                <a:gd name="T12" fmla="*/ 55 w 102"/>
                <a:gd name="T13" fmla="*/ 0 h 143"/>
                <a:gd name="T14" fmla="*/ 102 w 102"/>
                <a:gd name="T15" fmla="*/ 45 h 143"/>
                <a:gd name="T16" fmla="*/ 55 w 102"/>
                <a:gd name="T17" fmla="*/ 89 h 143"/>
                <a:gd name="T18" fmla="*/ 53 w 102"/>
                <a:gd name="T19" fmla="*/ 25 h 143"/>
                <a:gd name="T20" fmla="*/ 53 w 102"/>
                <a:gd name="T21" fmla="*/ 25 h 143"/>
                <a:gd name="T22" fmla="*/ 27 w 102"/>
                <a:gd name="T23" fmla="*/ 25 h 143"/>
                <a:gd name="T24" fmla="*/ 27 w 102"/>
                <a:gd name="T25" fmla="*/ 64 h 143"/>
                <a:gd name="T26" fmla="*/ 53 w 102"/>
                <a:gd name="T27" fmla="*/ 64 h 143"/>
                <a:gd name="T28" fmla="*/ 74 w 102"/>
                <a:gd name="T29" fmla="*/ 45 h 143"/>
                <a:gd name="T30" fmla="*/ 53 w 102"/>
                <a:gd name="T31" fmla="*/ 2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2" h="143">
                  <a:moveTo>
                    <a:pt x="55" y="89"/>
                  </a:moveTo>
                  <a:lnTo>
                    <a:pt x="55" y="89"/>
                  </a:lnTo>
                  <a:lnTo>
                    <a:pt x="27" y="89"/>
                  </a:lnTo>
                  <a:lnTo>
                    <a:pt x="27" y="143"/>
                  </a:lnTo>
                  <a:lnTo>
                    <a:pt x="0" y="143"/>
                  </a:lnTo>
                  <a:lnTo>
                    <a:pt x="0" y="0"/>
                  </a:lnTo>
                  <a:lnTo>
                    <a:pt x="55" y="0"/>
                  </a:lnTo>
                  <a:cubicBezTo>
                    <a:pt x="84" y="0"/>
                    <a:pt x="102" y="20"/>
                    <a:pt x="102" y="45"/>
                  </a:cubicBezTo>
                  <a:cubicBezTo>
                    <a:pt x="102" y="69"/>
                    <a:pt x="84" y="89"/>
                    <a:pt x="55" y="89"/>
                  </a:cubicBezTo>
                  <a:close/>
                  <a:moveTo>
                    <a:pt x="53" y="25"/>
                  </a:moveTo>
                  <a:lnTo>
                    <a:pt x="53" y="25"/>
                  </a:lnTo>
                  <a:lnTo>
                    <a:pt x="27" y="25"/>
                  </a:lnTo>
                  <a:lnTo>
                    <a:pt x="27" y="64"/>
                  </a:lnTo>
                  <a:lnTo>
                    <a:pt x="53" y="64"/>
                  </a:lnTo>
                  <a:cubicBezTo>
                    <a:pt x="66" y="64"/>
                    <a:pt x="74" y="56"/>
                    <a:pt x="74" y="45"/>
                  </a:cubicBezTo>
                  <a:cubicBezTo>
                    <a:pt x="74" y="33"/>
                    <a:pt x="66" y="25"/>
                    <a:pt x="53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0" name="Freeform 52"/>
            <p:cNvSpPr>
              <a:spLocks noEditPoints="1"/>
            </p:cNvSpPr>
            <p:nvPr/>
          </p:nvSpPr>
          <p:spPr bwMode="auto">
            <a:xfrm>
              <a:off x="8813800" y="-496888"/>
              <a:ext cx="93663" cy="130175"/>
            </a:xfrm>
            <a:custGeom>
              <a:avLst/>
              <a:gdLst>
                <a:gd name="T0" fmla="*/ 91 w 106"/>
                <a:gd name="T1" fmla="*/ 129 h 145"/>
                <a:gd name="T2" fmla="*/ 91 w 106"/>
                <a:gd name="T3" fmla="*/ 129 h 145"/>
                <a:gd name="T4" fmla="*/ 53 w 106"/>
                <a:gd name="T5" fmla="*/ 145 h 145"/>
                <a:gd name="T6" fmla="*/ 14 w 106"/>
                <a:gd name="T7" fmla="*/ 129 h 145"/>
                <a:gd name="T8" fmla="*/ 0 w 106"/>
                <a:gd name="T9" fmla="*/ 72 h 145"/>
                <a:gd name="T10" fmla="*/ 14 w 106"/>
                <a:gd name="T11" fmla="*/ 16 h 145"/>
                <a:gd name="T12" fmla="*/ 53 w 106"/>
                <a:gd name="T13" fmla="*/ 0 h 145"/>
                <a:gd name="T14" fmla="*/ 91 w 106"/>
                <a:gd name="T15" fmla="*/ 16 h 145"/>
                <a:gd name="T16" fmla="*/ 105 w 106"/>
                <a:gd name="T17" fmla="*/ 72 h 145"/>
                <a:gd name="T18" fmla="*/ 91 w 106"/>
                <a:gd name="T19" fmla="*/ 129 h 145"/>
                <a:gd name="T20" fmla="*/ 71 w 106"/>
                <a:gd name="T21" fmla="*/ 32 h 145"/>
                <a:gd name="T22" fmla="*/ 71 w 106"/>
                <a:gd name="T23" fmla="*/ 32 h 145"/>
                <a:gd name="T24" fmla="*/ 53 w 106"/>
                <a:gd name="T25" fmla="*/ 25 h 145"/>
                <a:gd name="T26" fmla="*/ 35 w 106"/>
                <a:gd name="T27" fmla="*/ 32 h 145"/>
                <a:gd name="T28" fmla="*/ 28 w 106"/>
                <a:gd name="T29" fmla="*/ 72 h 145"/>
                <a:gd name="T30" fmla="*/ 35 w 106"/>
                <a:gd name="T31" fmla="*/ 112 h 145"/>
                <a:gd name="T32" fmla="*/ 53 w 106"/>
                <a:gd name="T33" fmla="*/ 120 h 145"/>
                <a:gd name="T34" fmla="*/ 71 w 106"/>
                <a:gd name="T35" fmla="*/ 112 h 145"/>
                <a:gd name="T36" fmla="*/ 78 w 106"/>
                <a:gd name="T37" fmla="*/ 72 h 145"/>
                <a:gd name="T38" fmla="*/ 71 w 106"/>
                <a:gd name="T39" fmla="*/ 32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6" h="145">
                  <a:moveTo>
                    <a:pt x="91" y="129"/>
                  </a:moveTo>
                  <a:lnTo>
                    <a:pt x="91" y="129"/>
                  </a:lnTo>
                  <a:cubicBezTo>
                    <a:pt x="81" y="139"/>
                    <a:pt x="69" y="145"/>
                    <a:pt x="53" y="145"/>
                  </a:cubicBezTo>
                  <a:cubicBezTo>
                    <a:pt x="37" y="145"/>
                    <a:pt x="24" y="139"/>
                    <a:pt x="14" y="129"/>
                  </a:cubicBezTo>
                  <a:cubicBezTo>
                    <a:pt x="0" y="115"/>
                    <a:pt x="0" y="97"/>
                    <a:pt x="0" y="72"/>
                  </a:cubicBezTo>
                  <a:cubicBezTo>
                    <a:pt x="0" y="48"/>
                    <a:pt x="0" y="30"/>
                    <a:pt x="14" y="16"/>
                  </a:cubicBezTo>
                  <a:cubicBezTo>
                    <a:pt x="24" y="6"/>
                    <a:pt x="37" y="0"/>
                    <a:pt x="53" y="0"/>
                  </a:cubicBezTo>
                  <a:cubicBezTo>
                    <a:pt x="69" y="0"/>
                    <a:pt x="81" y="6"/>
                    <a:pt x="91" y="16"/>
                  </a:cubicBezTo>
                  <a:cubicBezTo>
                    <a:pt x="106" y="30"/>
                    <a:pt x="105" y="48"/>
                    <a:pt x="105" y="72"/>
                  </a:cubicBezTo>
                  <a:cubicBezTo>
                    <a:pt x="105" y="97"/>
                    <a:pt x="106" y="115"/>
                    <a:pt x="91" y="129"/>
                  </a:cubicBezTo>
                  <a:close/>
                  <a:moveTo>
                    <a:pt x="71" y="32"/>
                  </a:moveTo>
                  <a:lnTo>
                    <a:pt x="71" y="32"/>
                  </a:lnTo>
                  <a:cubicBezTo>
                    <a:pt x="67" y="28"/>
                    <a:pt x="60" y="25"/>
                    <a:pt x="53" y="25"/>
                  </a:cubicBezTo>
                  <a:cubicBezTo>
                    <a:pt x="45" y="25"/>
                    <a:pt x="39" y="28"/>
                    <a:pt x="35" y="32"/>
                  </a:cubicBezTo>
                  <a:cubicBezTo>
                    <a:pt x="29" y="38"/>
                    <a:pt x="28" y="45"/>
                    <a:pt x="28" y="72"/>
                  </a:cubicBezTo>
                  <a:cubicBezTo>
                    <a:pt x="28" y="100"/>
                    <a:pt x="29" y="106"/>
                    <a:pt x="35" y="112"/>
                  </a:cubicBezTo>
                  <a:cubicBezTo>
                    <a:pt x="39" y="117"/>
                    <a:pt x="45" y="120"/>
                    <a:pt x="53" y="120"/>
                  </a:cubicBezTo>
                  <a:cubicBezTo>
                    <a:pt x="60" y="120"/>
                    <a:pt x="67" y="117"/>
                    <a:pt x="71" y="112"/>
                  </a:cubicBezTo>
                  <a:cubicBezTo>
                    <a:pt x="76" y="106"/>
                    <a:pt x="78" y="100"/>
                    <a:pt x="78" y="72"/>
                  </a:cubicBezTo>
                  <a:cubicBezTo>
                    <a:pt x="78" y="45"/>
                    <a:pt x="76" y="38"/>
                    <a:pt x="71" y="3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1" name="Freeform 53"/>
            <p:cNvSpPr>
              <a:spLocks/>
            </p:cNvSpPr>
            <p:nvPr/>
          </p:nvSpPr>
          <p:spPr bwMode="auto">
            <a:xfrm>
              <a:off x="8921750" y="-496888"/>
              <a:ext cx="93663" cy="130175"/>
            </a:xfrm>
            <a:custGeom>
              <a:avLst/>
              <a:gdLst>
                <a:gd name="T0" fmla="*/ 52 w 105"/>
                <a:gd name="T1" fmla="*/ 145 h 145"/>
                <a:gd name="T2" fmla="*/ 52 w 105"/>
                <a:gd name="T3" fmla="*/ 145 h 145"/>
                <a:gd name="T4" fmla="*/ 0 w 105"/>
                <a:gd name="T5" fmla="*/ 126 h 145"/>
                <a:gd name="T6" fmla="*/ 18 w 105"/>
                <a:gd name="T7" fmla="*/ 108 h 145"/>
                <a:gd name="T8" fmla="*/ 53 w 105"/>
                <a:gd name="T9" fmla="*/ 120 h 145"/>
                <a:gd name="T10" fmla="*/ 78 w 105"/>
                <a:gd name="T11" fmla="*/ 102 h 145"/>
                <a:gd name="T12" fmla="*/ 74 w 105"/>
                <a:gd name="T13" fmla="*/ 90 h 145"/>
                <a:gd name="T14" fmla="*/ 61 w 105"/>
                <a:gd name="T15" fmla="*/ 85 h 145"/>
                <a:gd name="T16" fmla="*/ 44 w 105"/>
                <a:gd name="T17" fmla="*/ 83 h 145"/>
                <a:gd name="T18" fmla="*/ 16 w 105"/>
                <a:gd name="T19" fmla="*/ 71 h 145"/>
                <a:gd name="T20" fmla="*/ 6 w 105"/>
                <a:gd name="T21" fmla="*/ 43 h 145"/>
                <a:gd name="T22" fmla="*/ 56 w 105"/>
                <a:gd name="T23" fmla="*/ 0 h 145"/>
                <a:gd name="T24" fmla="*/ 102 w 105"/>
                <a:gd name="T25" fmla="*/ 17 h 145"/>
                <a:gd name="T26" fmla="*/ 84 w 105"/>
                <a:gd name="T27" fmla="*/ 34 h 145"/>
                <a:gd name="T28" fmla="*/ 55 w 105"/>
                <a:gd name="T29" fmla="*/ 24 h 145"/>
                <a:gd name="T30" fmla="*/ 33 w 105"/>
                <a:gd name="T31" fmla="*/ 42 h 145"/>
                <a:gd name="T32" fmla="*/ 37 w 105"/>
                <a:gd name="T33" fmla="*/ 52 h 145"/>
                <a:gd name="T34" fmla="*/ 50 w 105"/>
                <a:gd name="T35" fmla="*/ 58 h 145"/>
                <a:gd name="T36" fmla="*/ 67 w 105"/>
                <a:gd name="T37" fmla="*/ 60 h 145"/>
                <a:gd name="T38" fmla="*/ 94 w 105"/>
                <a:gd name="T39" fmla="*/ 71 h 145"/>
                <a:gd name="T40" fmla="*/ 105 w 105"/>
                <a:gd name="T41" fmla="*/ 102 h 145"/>
                <a:gd name="T42" fmla="*/ 52 w 105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5" h="145">
                  <a:moveTo>
                    <a:pt x="52" y="145"/>
                  </a:moveTo>
                  <a:lnTo>
                    <a:pt x="52" y="145"/>
                  </a:lnTo>
                  <a:cubicBezTo>
                    <a:pt x="31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40" y="120"/>
                    <a:pt x="53" y="120"/>
                  </a:cubicBezTo>
                  <a:cubicBezTo>
                    <a:pt x="69" y="120"/>
                    <a:pt x="78" y="114"/>
                    <a:pt x="78" y="102"/>
                  </a:cubicBezTo>
                  <a:cubicBezTo>
                    <a:pt x="78" y="97"/>
                    <a:pt x="77" y="93"/>
                    <a:pt x="74" y="90"/>
                  </a:cubicBezTo>
                  <a:cubicBezTo>
                    <a:pt x="71" y="88"/>
                    <a:pt x="68" y="86"/>
                    <a:pt x="61" y="85"/>
                  </a:cubicBezTo>
                  <a:lnTo>
                    <a:pt x="44" y="83"/>
                  </a:lnTo>
                  <a:cubicBezTo>
                    <a:pt x="32" y="81"/>
                    <a:pt x="23" y="77"/>
                    <a:pt x="16" y="71"/>
                  </a:cubicBezTo>
                  <a:cubicBezTo>
                    <a:pt x="9" y="65"/>
                    <a:pt x="6" y="55"/>
                    <a:pt x="6" y="43"/>
                  </a:cubicBezTo>
                  <a:cubicBezTo>
                    <a:pt x="6" y="18"/>
                    <a:pt x="25" y="0"/>
                    <a:pt x="56" y="0"/>
                  </a:cubicBezTo>
                  <a:cubicBezTo>
                    <a:pt x="75" y="0"/>
                    <a:pt x="89" y="5"/>
                    <a:pt x="102" y="17"/>
                  </a:cubicBezTo>
                  <a:lnTo>
                    <a:pt x="84" y="34"/>
                  </a:lnTo>
                  <a:cubicBezTo>
                    <a:pt x="75" y="26"/>
                    <a:pt x="64" y="24"/>
                    <a:pt x="55" y="24"/>
                  </a:cubicBezTo>
                  <a:cubicBezTo>
                    <a:pt x="40" y="24"/>
                    <a:pt x="33" y="32"/>
                    <a:pt x="33" y="42"/>
                  </a:cubicBezTo>
                  <a:cubicBezTo>
                    <a:pt x="33" y="46"/>
                    <a:pt x="34" y="50"/>
                    <a:pt x="37" y="52"/>
                  </a:cubicBezTo>
                  <a:cubicBezTo>
                    <a:pt x="40" y="55"/>
                    <a:pt x="44" y="57"/>
                    <a:pt x="50" y="58"/>
                  </a:cubicBezTo>
                  <a:lnTo>
                    <a:pt x="67" y="60"/>
                  </a:lnTo>
                  <a:cubicBezTo>
                    <a:pt x="80" y="62"/>
                    <a:pt x="88" y="66"/>
                    <a:pt x="94" y="71"/>
                  </a:cubicBezTo>
                  <a:cubicBezTo>
                    <a:pt x="102" y="79"/>
                    <a:pt x="105" y="89"/>
                    <a:pt x="105" y="102"/>
                  </a:cubicBezTo>
                  <a:cubicBezTo>
                    <a:pt x="105" y="129"/>
                    <a:pt x="82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2" name="Freeform 54"/>
            <p:cNvSpPr>
              <a:spLocks noEditPoints="1"/>
            </p:cNvSpPr>
            <p:nvPr/>
          </p:nvSpPr>
          <p:spPr bwMode="auto">
            <a:xfrm>
              <a:off x="9024938" y="-495301"/>
              <a:ext cx="112713" cy="128588"/>
            </a:xfrm>
            <a:custGeom>
              <a:avLst/>
              <a:gdLst>
                <a:gd name="T0" fmla="*/ 97 w 126"/>
                <a:gd name="T1" fmla="*/ 143 h 143"/>
                <a:gd name="T2" fmla="*/ 97 w 126"/>
                <a:gd name="T3" fmla="*/ 143 h 143"/>
                <a:gd name="T4" fmla="*/ 89 w 126"/>
                <a:gd name="T5" fmla="*/ 117 h 143"/>
                <a:gd name="T6" fmla="*/ 38 w 126"/>
                <a:gd name="T7" fmla="*/ 117 h 143"/>
                <a:gd name="T8" fmla="*/ 29 w 126"/>
                <a:gd name="T9" fmla="*/ 143 h 143"/>
                <a:gd name="T10" fmla="*/ 0 w 126"/>
                <a:gd name="T11" fmla="*/ 143 h 143"/>
                <a:gd name="T12" fmla="*/ 52 w 126"/>
                <a:gd name="T13" fmla="*/ 0 h 143"/>
                <a:gd name="T14" fmla="*/ 74 w 126"/>
                <a:gd name="T15" fmla="*/ 0 h 143"/>
                <a:gd name="T16" fmla="*/ 126 w 126"/>
                <a:gd name="T17" fmla="*/ 143 h 143"/>
                <a:gd name="T18" fmla="*/ 97 w 126"/>
                <a:gd name="T19" fmla="*/ 143 h 143"/>
                <a:gd name="T20" fmla="*/ 64 w 126"/>
                <a:gd name="T21" fmla="*/ 42 h 143"/>
                <a:gd name="T22" fmla="*/ 64 w 126"/>
                <a:gd name="T23" fmla="*/ 42 h 143"/>
                <a:gd name="T24" fmla="*/ 46 w 126"/>
                <a:gd name="T25" fmla="*/ 94 h 143"/>
                <a:gd name="T26" fmla="*/ 81 w 126"/>
                <a:gd name="T27" fmla="*/ 94 h 143"/>
                <a:gd name="T28" fmla="*/ 64 w 126"/>
                <a:gd name="T29" fmla="*/ 4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6" h="143">
                  <a:moveTo>
                    <a:pt x="97" y="143"/>
                  </a:moveTo>
                  <a:lnTo>
                    <a:pt x="97" y="143"/>
                  </a:lnTo>
                  <a:lnTo>
                    <a:pt x="89" y="117"/>
                  </a:lnTo>
                  <a:lnTo>
                    <a:pt x="38" y="117"/>
                  </a:lnTo>
                  <a:lnTo>
                    <a:pt x="29" y="143"/>
                  </a:lnTo>
                  <a:lnTo>
                    <a:pt x="0" y="143"/>
                  </a:lnTo>
                  <a:lnTo>
                    <a:pt x="52" y="0"/>
                  </a:lnTo>
                  <a:lnTo>
                    <a:pt x="74" y="0"/>
                  </a:lnTo>
                  <a:lnTo>
                    <a:pt x="126" y="143"/>
                  </a:lnTo>
                  <a:lnTo>
                    <a:pt x="97" y="143"/>
                  </a:lnTo>
                  <a:close/>
                  <a:moveTo>
                    <a:pt x="64" y="42"/>
                  </a:moveTo>
                  <a:lnTo>
                    <a:pt x="64" y="42"/>
                  </a:lnTo>
                  <a:lnTo>
                    <a:pt x="46" y="94"/>
                  </a:lnTo>
                  <a:lnTo>
                    <a:pt x="81" y="94"/>
                  </a:lnTo>
                  <a:lnTo>
                    <a:pt x="64" y="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3" name="Freeform 55"/>
            <p:cNvSpPr>
              <a:spLocks/>
            </p:cNvSpPr>
            <p:nvPr/>
          </p:nvSpPr>
          <p:spPr bwMode="auto">
            <a:xfrm>
              <a:off x="9155113" y="-495301"/>
              <a:ext cx="82550" cy="128588"/>
            </a:xfrm>
            <a:custGeom>
              <a:avLst/>
              <a:gdLst>
                <a:gd name="T0" fmla="*/ 0 w 92"/>
                <a:gd name="T1" fmla="*/ 0 h 143"/>
                <a:gd name="T2" fmla="*/ 0 w 92"/>
                <a:gd name="T3" fmla="*/ 0 h 143"/>
                <a:gd name="T4" fmla="*/ 0 w 92"/>
                <a:gd name="T5" fmla="*/ 143 h 143"/>
                <a:gd name="T6" fmla="*/ 92 w 92"/>
                <a:gd name="T7" fmla="*/ 143 h 143"/>
                <a:gd name="T8" fmla="*/ 92 w 92"/>
                <a:gd name="T9" fmla="*/ 118 h 143"/>
                <a:gd name="T10" fmla="*/ 28 w 92"/>
                <a:gd name="T11" fmla="*/ 118 h 143"/>
                <a:gd name="T12" fmla="*/ 28 w 92"/>
                <a:gd name="T13" fmla="*/ 0 h 143"/>
                <a:gd name="T14" fmla="*/ 0 w 92"/>
                <a:gd name="T1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143">
                  <a:moveTo>
                    <a:pt x="0" y="0"/>
                  </a:moveTo>
                  <a:lnTo>
                    <a:pt x="0" y="0"/>
                  </a:lnTo>
                  <a:lnTo>
                    <a:pt x="0" y="143"/>
                  </a:lnTo>
                  <a:lnTo>
                    <a:pt x="92" y="143"/>
                  </a:lnTo>
                  <a:lnTo>
                    <a:pt x="92" y="118"/>
                  </a:lnTo>
                  <a:lnTo>
                    <a:pt x="28" y="118"/>
                  </a:lnTo>
                  <a:lnTo>
                    <a:pt x="2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12" name="Chevrons"/>
          <p:cNvGrpSpPr/>
          <p:nvPr/>
        </p:nvGrpSpPr>
        <p:grpSpPr>
          <a:xfrm>
            <a:off x="5581747" y="1653488"/>
            <a:ext cx="215175" cy="74486"/>
            <a:chOff x="2177378" y="401620"/>
            <a:chExt cx="264150" cy="91440"/>
          </a:xfrm>
          <a:solidFill>
            <a:schemeClr val="accent5"/>
          </a:solidFill>
        </p:grpSpPr>
        <p:sp>
          <p:nvSpPr>
            <p:cNvPr id="327" name="Chevron 326"/>
            <p:cNvSpPr/>
            <p:nvPr/>
          </p:nvSpPr>
          <p:spPr>
            <a:xfrm>
              <a:off x="2177378" y="401620"/>
              <a:ext cx="91440" cy="9144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8" name="Chevron 327"/>
            <p:cNvSpPr/>
            <p:nvPr/>
          </p:nvSpPr>
          <p:spPr>
            <a:xfrm>
              <a:off x="2263733" y="401620"/>
              <a:ext cx="91439" cy="9144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9" name="Chevron 328"/>
            <p:cNvSpPr/>
            <p:nvPr/>
          </p:nvSpPr>
          <p:spPr>
            <a:xfrm>
              <a:off x="2350088" y="401620"/>
              <a:ext cx="91440" cy="9144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9" name="Transport Tan"/>
          <p:cNvGrpSpPr/>
          <p:nvPr/>
        </p:nvGrpSpPr>
        <p:grpSpPr>
          <a:xfrm>
            <a:off x="4266463" y="1464751"/>
            <a:ext cx="1280160" cy="2926080"/>
            <a:chOff x="4266463" y="1464751"/>
            <a:chExt cx="1280160" cy="2926080"/>
          </a:xfrm>
        </p:grpSpPr>
        <p:sp>
          <p:nvSpPr>
            <p:cNvPr id="145" name="Transport Tan"/>
            <p:cNvSpPr/>
            <p:nvPr/>
          </p:nvSpPr>
          <p:spPr>
            <a:xfrm>
              <a:off x="4266463" y="1464751"/>
              <a:ext cx="1280160" cy="2926080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74" name="Transport"/>
            <p:cNvGrpSpPr/>
            <p:nvPr/>
          </p:nvGrpSpPr>
          <p:grpSpPr>
            <a:xfrm>
              <a:off x="4495315" y="1637712"/>
              <a:ext cx="822456" cy="106039"/>
              <a:chOff x="3205163" y="-1457326"/>
              <a:chExt cx="1009650" cy="130175"/>
            </a:xfrm>
            <a:solidFill>
              <a:schemeClr val="accent5">
                <a:lumMod val="75000"/>
              </a:schemeClr>
            </a:solidFill>
          </p:grpSpPr>
          <p:sp>
            <p:nvSpPr>
              <p:cNvPr id="318" name="Freeform 24"/>
              <p:cNvSpPr>
                <a:spLocks/>
              </p:cNvSpPr>
              <p:nvPr/>
            </p:nvSpPr>
            <p:spPr bwMode="auto">
              <a:xfrm>
                <a:off x="3205163" y="-1457326"/>
                <a:ext cx="92075" cy="128588"/>
              </a:xfrm>
              <a:custGeom>
                <a:avLst/>
                <a:gdLst>
                  <a:gd name="T0" fmla="*/ 0 w 103"/>
                  <a:gd name="T1" fmla="*/ 0 h 142"/>
                  <a:gd name="T2" fmla="*/ 0 w 103"/>
                  <a:gd name="T3" fmla="*/ 0 h 142"/>
                  <a:gd name="T4" fmla="*/ 0 w 103"/>
                  <a:gd name="T5" fmla="*/ 24 h 142"/>
                  <a:gd name="T6" fmla="*/ 38 w 103"/>
                  <a:gd name="T7" fmla="*/ 24 h 142"/>
                  <a:gd name="T8" fmla="*/ 38 w 103"/>
                  <a:gd name="T9" fmla="*/ 142 h 142"/>
                  <a:gd name="T10" fmla="*/ 65 w 103"/>
                  <a:gd name="T11" fmla="*/ 142 h 142"/>
                  <a:gd name="T12" fmla="*/ 65 w 103"/>
                  <a:gd name="T13" fmla="*/ 24 h 142"/>
                  <a:gd name="T14" fmla="*/ 103 w 103"/>
                  <a:gd name="T15" fmla="*/ 24 h 142"/>
                  <a:gd name="T16" fmla="*/ 103 w 103"/>
                  <a:gd name="T17" fmla="*/ 0 h 142"/>
                  <a:gd name="T18" fmla="*/ 0 w 103"/>
                  <a:gd name="T19" fmla="*/ 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3" h="142">
                    <a:moveTo>
                      <a:pt x="0" y="0"/>
                    </a:moveTo>
                    <a:lnTo>
                      <a:pt x="0" y="0"/>
                    </a:lnTo>
                    <a:lnTo>
                      <a:pt x="0" y="24"/>
                    </a:lnTo>
                    <a:lnTo>
                      <a:pt x="38" y="24"/>
                    </a:lnTo>
                    <a:lnTo>
                      <a:pt x="38" y="142"/>
                    </a:lnTo>
                    <a:lnTo>
                      <a:pt x="65" y="142"/>
                    </a:lnTo>
                    <a:lnTo>
                      <a:pt x="65" y="24"/>
                    </a:lnTo>
                    <a:lnTo>
                      <a:pt x="103" y="24"/>
                    </a:lnTo>
                    <a:lnTo>
                      <a:pt x="10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9" name="Freeform 25"/>
              <p:cNvSpPr>
                <a:spLocks noEditPoints="1"/>
              </p:cNvSpPr>
              <p:nvPr/>
            </p:nvSpPr>
            <p:spPr bwMode="auto">
              <a:xfrm>
                <a:off x="3316288" y="-1457326"/>
                <a:ext cx="96838" cy="128588"/>
              </a:xfrm>
              <a:custGeom>
                <a:avLst/>
                <a:gdLst>
                  <a:gd name="T0" fmla="*/ 76 w 108"/>
                  <a:gd name="T1" fmla="*/ 142 h 142"/>
                  <a:gd name="T2" fmla="*/ 76 w 108"/>
                  <a:gd name="T3" fmla="*/ 142 h 142"/>
                  <a:gd name="T4" fmla="*/ 48 w 108"/>
                  <a:gd name="T5" fmla="*/ 85 h 142"/>
                  <a:gd name="T6" fmla="*/ 28 w 108"/>
                  <a:gd name="T7" fmla="*/ 85 h 142"/>
                  <a:gd name="T8" fmla="*/ 28 w 108"/>
                  <a:gd name="T9" fmla="*/ 142 h 142"/>
                  <a:gd name="T10" fmla="*/ 0 w 108"/>
                  <a:gd name="T11" fmla="*/ 142 h 142"/>
                  <a:gd name="T12" fmla="*/ 0 w 108"/>
                  <a:gd name="T13" fmla="*/ 0 h 142"/>
                  <a:gd name="T14" fmla="*/ 56 w 108"/>
                  <a:gd name="T15" fmla="*/ 0 h 142"/>
                  <a:gd name="T16" fmla="*/ 102 w 108"/>
                  <a:gd name="T17" fmla="*/ 43 h 142"/>
                  <a:gd name="T18" fmla="*/ 76 w 108"/>
                  <a:gd name="T19" fmla="*/ 80 h 142"/>
                  <a:gd name="T20" fmla="*/ 108 w 108"/>
                  <a:gd name="T21" fmla="*/ 142 h 142"/>
                  <a:gd name="T22" fmla="*/ 76 w 108"/>
                  <a:gd name="T23" fmla="*/ 142 h 142"/>
                  <a:gd name="T24" fmla="*/ 54 w 108"/>
                  <a:gd name="T25" fmla="*/ 24 h 142"/>
                  <a:gd name="T26" fmla="*/ 54 w 108"/>
                  <a:gd name="T27" fmla="*/ 24 h 142"/>
                  <a:gd name="T28" fmla="*/ 28 w 108"/>
                  <a:gd name="T29" fmla="*/ 24 h 142"/>
                  <a:gd name="T30" fmla="*/ 28 w 108"/>
                  <a:gd name="T31" fmla="*/ 62 h 142"/>
                  <a:gd name="T32" fmla="*/ 54 w 108"/>
                  <a:gd name="T33" fmla="*/ 62 h 142"/>
                  <a:gd name="T34" fmla="*/ 74 w 108"/>
                  <a:gd name="T35" fmla="*/ 43 h 142"/>
                  <a:gd name="T36" fmla="*/ 54 w 108"/>
                  <a:gd name="T37" fmla="*/ 24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8" h="142">
                    <a:moveTo>
                      <a:pt x="76" y="142"/>
                    </a:moveTo>
                    <a:lnTo>
                      <a:pt x="76" y="142"/>
                    </a:lnTo>
                    <a:lnTo>
                      <a:pt x="48" y="85"/>
                    </a:lnTo>
                    <a:lnTo>
                      <a:pt x="28" y="85"/>
                    </a:lnTo>
                    <a:lnTo>
                      <a:pt x="28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56" y="0"/>
                    </a:lnTo>
                    <a:cubicBezTo>
                      <a:pt x="85" y="0"/>
                      <a:pt x="102" y="19"/>
                      <a:pt x="102" y="43"/>
                    </a:cubicBezTo>
                    <a:cubicBezTo>
                      <a:pt x="102" y="63"/>
                      <a:pt x="90" y="75"/>
                      <a:pt x="76" y="80"/>
                    </a:cubicBezTo>
                    <a:lnTo>
                      <a:pt x="108" y="142"/>
                    </a:lnTo>
                    <a:lnTo>
                      <a:pt x="76" y="142"/>
                    </a:lnTo>
                    <a:close/>
                    <a:moveTo>
                      <a:pt x="54" y="24"/>
                    </a:moveTo>
                    <a:lnTo>
                      <a:pt x="54" y="24"/>
                    </a:lnTo>
                    <a:lnTo>
                      <a:pt x="28" y="24"/>
                    </a:lnTo>
                    <a:lnTo>
                      <a:pt x="28" y="62"/>
                    </a:lnTo>
                    <a:lnTo>
                      <a:pt x="54" y="62"/>
                    </a:lnTo>
                    <a:cubicBezTo>
                      <a:pt x="66" y="62"/>
                      <a:pt x="74" y="54"/>
                      <a:pt x="74" y="43"/>
                    </a:cubicBezTo>
                    <a:cubicBezTo>
                      <a:pt x="74" y="32"/>
                      <a:pt x="66" y="24"/>
                      <a:pt x="54" y="24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0" name="Freeform 26"/>
              <p:cNvSpPr>
                <a:spLocks noEditPoints="1"/>
              </p:cNvSpPr>
              <p:nvPr/>
            </p:nvSpPr>
            <p:spPr bwMode="auto">
              <a:xfrm>
                <a:off x="3427413" y="-1457326"/>
                <a:ext cx="111125" cy="128588"/>
              </a:xfrm>
              <a:custGeom>
                <a:avLst/>
                <a:gdLst>
                  <a:gd name="T0" fmla="*/ 52 w 126"/>
                  <a:gd name="T1" fmla="*/ 0 h 142"/>
                  <a:gd name="T2" fmla="*/ 52 w 126"/>
                  <a:gd name="T3" fmla="*/ 0 h 142"/>
                  <a:gd name="T4" fmla="*/ 0 w 126"/>
                  <a:gd name="T5" fmla="*/ 142 h 142"/>
                  <a:gd name="T6" fmla="*/ 29 w 126"/>
                  <a:gd name="T7" fmla="*/ 142 h 142"/>
                  <a:gd name="T8" fmla="*/ 38 w 126"/>
                  <a:gd name="T9" fmla="*/ 116 h 142"/>
                  <a:gd name="T10" fmla="*/ 88 w 126"/>
                  <a:gd name="T11" fmla="*/ 116 h 142"/>
                  <a:gd name="T12" fmla="*/ 97 w 126"/>
                  <a:gd name="T13" fmla="*/ 142 h 142"/>
                  <a:gd name="T14" fmla="*/ 126 w 126"/>
                  <a:gd name="T15" fmla="*/ 142 h 142"/>
                  <a:gd name="T16" fmla="*/ 74 w 126"/>
                  <a:gd name="T17" fmla="*/ 0 h 142"/>
                  <a:gd name="T18" fmla="*/ 52 w 126"/>
                  <a:gd name="T19" fmla="*/ 0 h 142"/>
                  <a:gd name="T20" fmla="*/ 63 w 126"/>
                  <a:gd name="T21" fmla="*/ 41 h 142"/>
                  <a:gd name="T22" fmla="*/ 63 w 126"/>
                  <a:gd name="T23" fmla="*/ 41 h 142"/>
                  <a:gd name="T24" fmla="*/ 81 w 126"/>
                  <a:gd name="T25" fmla="*/ 93 h 142"/>
                  <a:gd name="T26" fmla="*/ 45 w 126"/>
                  <a:gd name="T27" fmla="*/ 93 h 142"/>
                  <a:gd name="T28" fmla="*/ 63 w 126"/>
                  <a:gd name="T29" fmla="*/ 41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6" h="142">
                    <a:moveTo>
                      <a:pt x="52" y="0"/>
                    </a:moveTo>
                    <a:lnTo>
                      <a:pt x="52" y="0"/>
                    </a:lnTo>
                    <a:lnTo>
                      <a:pt x="0" y="142"/>
                    </a:lnTo>
                    <a:lnTo>
                      <a:pt x="29" y="142"/>
                    </a:lnTo>
                    <a:lnTo>
                      <a:pt x="38" y="116"/>
                    </a:lnTo>
                    <a:lnTo>
                      <a:pt x="88" y="116"/>
                    </a:lnTo>
                    <a:lnTo>
                      <a:pt x="97" y="142"/>
                    </a:lnTo>
                    <a:lnTo>
                      <a:pt x="126" y="142"/>
                    </a:lnTo>
                    <a:lnTo>
                      <a:pt x="74" y="0"/>
                    </a:lnTo>
                    <a:lnTo>
                      <a:pt x="52" y="0"/>
                    </a:lnTo>
                    <a:close/>
                    <a:moveTo>
                      <a:pt x="63" y="41"/>
                    </a:moveTo>
                    <a:lnTo>
                      <a:pt x="63" y="41"/>
                    </a:lnTo>
                    <a:lnTo>
                      <a:pt x="81" y="93"/>
                    </a:lnTo>
                    <a:lnTo>
                      <a:pt x="45" y="93"/>
                    </a:lnTo>
                    <a:lnTo>
                      <a:pt x="63" y="41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1" name="Freeform 27"/>
              <p:cNvSpPr>
                <a:spLocks/>
              </p:cNvSpPr>
              <p:nvPr/>
            </p:nvSpPr>
            <p:spPr bwMode="auto">
              <a:xfrm>
                <a:off x="3556000" y="-1457326"/>
                <a:ext cx="98425" cy="128588"/>
              </a:xfrm>
              <a:custGeom>
                <a:avLst/>
                <a:gdLst>
                  <a:gd name="T0" fmla="*/ 81 w 109"/>
                  <a:gd name="T1" fmla="*/ 0 h 142"/>
                  <a:gd name="T2" fmla="*/ 81 w 109"/>
                  <a:gd name="T3" fmla="*/ 0 h 142"/>
                  <a:gd name="T4" fmla="*/ 81 w 109"/>
                  <a:gd name="T5" fmla="*/ 86 h 142"/>
                  <a:gd name="T6" fmla="*/ 24 w 109"/>
                  <a:gd name="T7" fmla="*/ 0 h 142"/>
                  <a:gd name="T8" fmla="*/ 0 w 109"/>
                  <a:gd name="T9" fmla="*/ 0 h 142"/>
                  <a:gd name="T10" fmla="*/ 0 w 109"/>
                  <a:gd name="T11" fmla="*/ 142 h 142"/>
                  <a:gd name="T12" fmla="*/ 27 w 109"/>
                  <a:gd name="T13" fmla="*/ 142 h 142"/>
                  <a:gd name="T14" fmla="*/ 27 w 109"/>
                  <a:gd name="T15" fmla="*/ 54 h 142"/>
                  <a:gd name="T16" fmla="*/ 84 w 109"/>
                  <a:gd name="T17" fmla="*/ 142 h 142"/>
                  <a:gd name="T18" fmla="*/ 109 w 109"/>
                  <a:gd name="T19" fmla="*/ 142 h 142"/>
                  <a:gd name="T20" fmla="*/ 109 w 109"/>
                  <a:gd name="T21" fmla="*/ 0 h 142"/>
                  <a:gd name="T22" fmla="*/ 81 w 109"/>
                  <a:gd name="T23" fmla="*/ 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9" h="142">
                    <a:moveTo>
                      <a:pt x="81" y="0"/>
                    </a:moveTo>
                    <a:lnTo>
                      <a:pt x="81" y="0"/>
                    </a:lnTo>
                    <a:lnTo>
                      <a:pt x="81" y="86"/>
                    </a:lnTo>
                    <a:lnTo>
                      <a:pt x="24" y="0"/>
                    </a:lnTo>
                    <a:lnTo>
                      <a:pt x="0" y="0"/>
                    </a:lnTo>
                    <a:lnTo>
                      <a:pt x="0" y="142"/>
                    </a:lnTo>
                    <a:lnTo>
                      <a:pt x="27" y="142"/>
                    </a:lnTo>
                    <a:lnTo>
                      <a:pt x="27" y="54"/>
                    </a:lnTo>
                    <a:lnTo>
                      <a:pt x="84" y="142"/>
                    </a:lnTo>
                    <a:lnTo>
                      <a:pt x="109" y="142"/>
                    </a:lnTo>
                    <a:lnTo>
                      <a:pt x="109" y="0"/>
                    </a:lnTo>
                    <a:lnTo>
                      <a:pt x="8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2" name="Freeform 28"/>
              <p:cNvSpPr>
                <a:spLocks/>
              </p:cNvSpPr>
              <p:nvPr/>
            </p:nvSpPr>
            <p:spPr bwMode="auto">
              <a:xfrm>
                <a:off x="3671888" y="-1457326"/>
                <a:ext cx="93663" cy="130175"/>
              </a:xfrm>
              <a:custGeom>
                <a:avLst/>
                <a:gdLst>
                  <a:gd name="T0" fmla="*/ 52 w 105"/>
                  <a:gd name="T1" fmla="*/ 144 h 144"/>
                  <a:gd name="T2" fmla="*/ 52 w 105"/>
                  <a:gd name="T3" fmla="*/ 144 h 144"/>
                  <a:gd name="T4" fmla="*/ 0 w 105"/>
                  <a:gd name="T5" fmla="*/ 125 h 144"/>
                  <a:gd name="T6" fmla="*/ 18 w 105"/>
                  <a:gd name="T7" fmla="*/ 107 h 144"/>
                  <a:gd name="T8" fmla="*/ 53 w 105"/>
                  <a:gd name="T9" fmla="*/ 119 h 144"/>
                  <a:gd name="T10" fmla="*/ 78 w 105"/>
                  <a:gd name="T11" fmla="*/ 101 h 144"/>
                  <a:gd name="T12" fmla="*/ 73 w 105"/>
                  <a:gd name="T13" fmla="*/ 89 h 144"/>
                  <a:gd name="T14" fmla="*/ 61 w 105"/>
                  <a:gd name="T15" fmla="*/ 84 h 144"/>
                  <a:gd name="T16" fmla="*/ 44 w 105"/>
                  <a:gd name="T17" fmla="*/ 82 h 144"/>
                  <a:gd name="T18" fmla="*/ 16 w 105"/>
                  <a:gd name="T19" fmla="*/ 70 h 144"/>
                  <a:gd name="T20" fmla="*/ 6 w 105"/>
                  <a:gd name="T21" fmla="*/ 42 h 144"/>
                  <a:gd name="T22" fmla="*/ 55 w 105"/>
                  <a:gd name="T23" fmla="*/ 0 h 144"/>
                  <a:gd name="T24" fmla="*/ 101 w 105"/>
                  <a:gd name="T25" fmla="*/ 16 h 144"/>
                  <a:gd name="T26" fmla="*/ 84 w 105"/>
                  <a:gd name="T27" fmla="*/ 33 h 144"/>
                  <a:gd name="T28" fmla="*/ 55 w 105"/>
                  <a:gd name="T29" fmla="*/ 23 h 144"/>
                  <a:gd name="T30" fmla="*/ 33 w 105"/>
                  <a:gd name="T31" fmla="*/ 41 h 144"/>
                  <a:gd name="T32" fmla="*/ 37 w 105"/>
                  <a:gd name="T33" fmla="*/ 51 h 144"/>
                  <a:gd name="T34" fmla="*/ 50 w 105"/>
                  <a:gd name="T35" fmla="*/ 57 h 144"/>
                  <a:gd name="T36" fmla="*/ 67 w 105"/>
                  <a:gd name="T37" fmla="*/ 59 h 144"/>
                  <a:gd name="T38" fmla="*/ 94 w 105"/>
                  <a:gd name="T39" fmla="*/ 70 h 144"/>
                  <a:gd name="T40" fmla="*/ 105 w 105"/>
                  <a:gd name="T41" fmla="*/ 101 h 144"/>
                  <a:gd name="T42" fmla="*/ 52 w 105"/>
                  <a:gd name="T43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05" h="144">
                    <a:moveTo>
                      <a:pt x="52" y="144"/>
                    </a:moveTo>
                    <a:lnTo>
                      <a:pt x="52" y="144"/>
                    </a:lnTo>
                    <a:cubicBezTo>
                      <a:pt x="31" y="144"/>
                      <a:pt x="14" y="139"/>
                      <a:pt x="0" y="125"/>
                    </a:cubicBezTo>
                    <a:lnTo>
                      <a:pt x="18" y="107"/>
                    </a:lnTo>
                    <a:cubicBezTo>
                      <a:pt x="27" y="116"/>
                      <a:pt x="39" y="119"/>
                      <a:pt x="53" y="119"/>
                    </a:cubicBezTo>
                    <a:cubicBezTo>
                      <a:pt x="69" y="119"/>
                      <a:pt x="78" y="113"/>
                      <a:pt x="78" y="101"/>
                    </a:cubicBezTo>
                    <a:cubicBezTo>
                      <a:pt x="78" y="96"/>
                      <a:pt x="76" y="92"/>
                      <a:pt x="73" y="89"/>
                    </a:cubicBezTo>
                    <a:cubicBezTo>
                      <a:pt x="71" y="87"/>
                      <a:pt x="67" y="85"/>
                      <a:pt x="61" y="84"/>
                    </a:cubicBezTo>
                    <a:lnTo>
                      <a:pt x="44" y="82"/>
                    </a:lnTo>
                    <a:cubicBezTo>
                      <a:pt x="31" y="80"/>
                      <a:pt x="22" y="76"/>
                      <a:pt x="16" y="70"/>
                    </a:cubicBezTo>
                    <a:cubicBezTo>
                      <a:pt x="9" y="63"/>
                      <a:pt x="6" y="54"/>
                      <a:pt x="6" y="42"/>
                    </a:cubicBezTo>
                    <a:cubicBezTo>
                      <a:pt x="6" y="17"/>
                      <a:pt x="25" y="0"/>
                      <a:pt x="55" y="0"/>
                    </a:cubicBezTo>
                    <a:cubicBezTo>
                      <a:pt x="75" y="0"/>
                      <a:pt x="89" y="4"/>
                      <a:pt x="101" y="16"/>
                    </a:cubicBezTo>
                    <a:lnTo>
                      <a:pt x="84" y="33"/>
                    </a:lnTo>
                    <a:cubicBezTo>
                      <a:pt x="75" y="24"/>
                      <a:pt x="64" y="23"/>
                      <a:pt x="55" y="23"/>
                    </a:cubicBezTo>
                    <a:cubicBezTo>
                      <a:pt x="40" y="23"/>
                      <a:pt x="33" y="31"/>
                      <a:pt x="33" y="41"/>
                    </a:cubicBezTo>
                    <a:cubicBezTo>
                      <a:pt x="33" y="45"/>
                      <a:pt x="34" y="49"/>
                      <a:pt x="37" y="51"/>
                    </a:cubicBezTo>
                    <a:cubicBezTo>
                      <a:pt x="40" y="54"/>
                      <a:pt x="44" y="56"/>
                      <a:pt x="50" y="57"/>
                    </a:cubicBezTo>
                    <a:lnTo>
                      <a:pt x="67" y="59"/>
                    </a:lnTo>
                    <a:cubicBezTo>
                      <a:pt x="80" y="61"/>
                      <a:pt x="88" y="65"/>
                      <a:pt x="94" y="70"/>
                    </a:cubicBezTo>
                    <a:cubicBezTo>
                      <a:pt x="102" y="78"/>
                      <a:pt x="105" y="88"/>
                      <a:pt x="105" y="101"/>
                    </a:cubicBezTo>
                    <a:cubicBezTo>
                      <a:pt x="105" y="128"/>
                      <a:pt x="82" y="144"/>
                      <a:pt x="52" y="144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3" name="Freeform 29"/>
              <p:cNvSpPr>
                <a:spLocks noEditPoints="1"/>
              </p:cNvSpPr>
              <p:nvPr/>
            </p:nvSpPr>
            <p:spPr bwMode="auto">
              <a:xfrm>
                <a:off x="3787775" y="-1457326"/>
                <a:ext cx="90488" cy="128588"/>
              </a:xfrm>
              <a:custGeom>
                <a:avLst/>
                <a:gdLst>
                  <a:gd name="T0" fmla="*/ 55 w 102"/>
                  <a:gd name="T1" fmla="*/ 88 h 142"/>
                  <a:gd name="T2" fmla="*/ 55 w 102"/>
                  <a:gd name="T3" fmla="*/ 88 h 142"/>
                  <a:gd name="T4" fmla="*/ 28 w 102"/>
                  <a:gd name="T5" fmla="*/ 88 h 142"/>
                  <a:gd name="T6" fmla="*/ 28 w 102"/>
                  <a:gd name="T7" fmla="*/ 142 h 142"/>
                  <a:gd name="T8" fmla="*/ 0 w 102"/>
                  <a:gd name="T9" fmla="*/ 142 h 142"/>
                  <a:gd name="T10" fmla="*/ 0 w 102"/>
                  <a:gd name="T11" fmla="*/ 0 h 142"/>
                  <a:gd name="T12" fmla="*/ 55 w 102"/>
                  <a:gd name="T13" fmla="*/ 0 h 142"/>
                  <a:gd name="T14" fmla="*/ 102 w 102"/>
                  <a:gd name="T15" fmla="*/ 44 h 142"/>
                  <a:gd name="T16" fmla="*/ 55 w 102"/>
                  <a:gd name="T17" fmla="*/ 88 h 142"/>
                  <a:gd name="T18" fmla="*/ 54 w 102"/>
                  <a:gd name="T19" fmla="*/ 24 h 142"/>
                  <a:gd name="T20" fmla="*/ 54 w 102"/>
                  <a:gd name="T21" fmla="*/ 24 h 142"/>
                  <a:gd name="T22" fmla="*/ 28 w 102"/>
                  <a:gd name="T23" fmla="*/ 24 h 142"/>
                  <a:gd name="T24" fmla="*/ 28 w 102"/>
                  <a:gd name="T25" fmla="*/ 63 h 142"/>
                  <a:gd name="T26" fmla="*/ 54 w 102"/>
                  <a:gd name="T27" fmla="*/ 63 h 142"/>
                  <a:gd name="T28" fmla="*/ 75 w 102"/>
                  <a:gd name="T29" fmla="*/ 44 h 142"/>
                  <a:gd name="T30" fmla="*/ 54 w 102"/>
                  <a:gd name="T31" fmla="*/ 24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2" h="142">
                    <a:moveTo>
                      <a:pt x="55" y="88"/>
                    </a:moveTo>
                    <a:lnTo>
                      <a:pt x="55" y="88"/>
                    </a:lnTo>
                    <a:lnTo>
                      <a:pt x="28" y="88"/>
                    </a:lnTo>
                    <a:lnTo>
                      <a:pt x="28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55" y="0"/>
                    </a:lnTo>
                    <a:cubicBezTo>
                      <a:pt x="85" y="0"/>
                      <a:pt x="102" y="19"/>
                      <a:pt x="102" y="44"/>
                    </a:cubicBezTo>
                    <a:cubicBezTo>
                      <a:pt x="102" y="68"/>
                      <a:pt x="85" y="88"/>
                      <a:pt x="55" y="88"/>
                    </a:cubicBezTo>
                    <a:close/>
                    <a:moveTo>
                      <a:pt x="54" y="24"/>
                    </a:moveTo>
                    <a:lnTo>
                      <a:pt x="54" y="24"/>
                    </a:lnTo>
                    <a:lnTo>
                      <a:pt x="28" y="24"/>
                    </a:lnTo>
                    <a:lnTo>
                      <a:pt x="28" y="63"/>
                    </a:lnTo>
                    <a:lnTo>
                      <a:pt x="54" y="63"/>
                    </a:lnTo>
                    <a:cubicBezTo>
                      <a:pt x="67" y="63"/>
                      <a:pt x="75" y="55"/>
                      <a:pt x="75" y="44"/>
                    </a:cubicBezTo>
                    <a:cubicBezTo>
                      <a:pt x="75" y="32"/>
                      <a:pt x="67" y="24"/>
                      <a:pt x="54" y="24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4" name="Freeform 30"/>
              <p:cNvSpPr>
                <a:spLocks noEditPoints="1"/>
              </p:cNvSpPr>
              <p:nvPr/>
            </p:nvSpPr>
            <p:spPr bwMode="auto">
              <a:xfrm>
                <a:off x="3895725" y="-1457326"/>
                <a:ext cx="95250" cy="130175"/>
              </a:xfrm>
              <a:custGeom>
                <a:avLst/>
                <a:gdLst>
                  <a:gd name="T0" fmla="*/ 92 w 106"/>
                  <a:gd name="T1" fmla="*/ 128 h 144"/>
                  <a:gd name="T2" fmla="*/ 92 w 106"/>
                  <a:gd name="T3" fmla="*/ 128 h 144"/>
                  <a:gd name="T4" fmla="*/ 53 w 106"/>
                  <a:gd name="T5" fmla="*/ 144 h 144"/>
                  <a:gd name="T6" fmla="*/ 15 w 106"/>
                  <a:gd name="T7" fmla="*/ 128 h 144"/>
                  <a:gd name="T8" fmla="*/ 1 w 106"/>
                  <a:gd name="T9" fmla="*/ 71 h 144"/>
                  <a:gd name="T10" fmla="*/ 15 w 106"/>
                  <a:gd name="T11" fmla="*/ 15 h 144"/>
                  <a:gd name="T12" fmla="*/ 53 w 106"/>
                  <a:gd name="T13" fmla="*/ 0 h 144"/>
                  <a:gd name="T14" fmla="*/ 92 w 106"/>
                  <a:gd name="T15" fmla="*/ 15 h 144"/>
                  <a:gd name="T16" fmla="*/ 106 w 106"/>
                  <a:gd name="T17" fmla="*/ 71 h 144"/>
                  <a:gd name="T18" fmla="*/ 92 w 106"/>
                  <a:gd name="T19" fmla="*/ 128 h 144"/>
                  <a:gd name="T20" fmla="*/ 71 w 106"/>
                  <a:gd name="T21" fmla="*/ 31 h 144"/>
                  <a:gd name="T22" fmla="*/ 71 w 106"/>
                  <a:gd name="T23" fmla="*/ 31 h 144"/>
                  <a:gd name="T24" fmla="*/ 53 w 106"/>
                  <a:gd name="T25" fmla="*/ 24 h 144"/>
                  <a:gd name="T26" fmla="*/ 35 w 106"/>
                  <a:gd name="T27" fmla="*/ 31 h 144"/>
                  <a:gd name="T28" fmla="*/ 29 w 106"/>
                  <a:gd name="T29" fmla="*/ 71 h 144"/>
                  <a:gd name="T30" fmla="*/ 35 w 106"/>
                  <a:gd name="T31" fmla="*/ 111 h 144"/>
                  <a:gd name="T32" fmla="*/ 53 w 106"/>
                  <a:gd name="T33" fmla="*/ 119 h 144"/>
                  <a:gd name="T34" fmla="*/ 71 w 106"/>
                  <a:gd name="T35" fmla="*/ 111 h 144"/>
                  <a:gd name="T36" fmla="*/ 78 w 106"/>
                  <a:gd name="T37" fmla="*/ 71 h 144"/>
                  <a:gd name="T38" fmla="*/ 71 w 106"/>
                  <a:gd name="T39" fmla="*/ 31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6" h="144">
                    <a:moveTo>
                      <a:pt x="92" y="128"/>
                    </a:moveTo>
                    <a:lnTo>
                      <a:pt x="92" y="128"/>
                    </a:lnTo>
                    <a:cubicBezTo>
                      <a:pt x="82" y="138"/>
                      <a:pt x="70" y="144"/>
                      <a:pt x="53" y="144"/>
                    </a:cubicBezTo>
                    <a:cubicBezTo>
                      <a:pt x="37" y="144"/>
                      <a:pt x="25" y="138"/>
                      <a:pt x="15" y="128"/>
                    </a:cubicBezTo>
                    <a:cubicBezTo>
                      <a:pt x="0" y="114"/>
                      <a:pt x="1" y="96"/>
                      <a:pt x="1" y="71"/>
                    </a:cubicBezTo>
                    <a:cubicBezTo>
                      <a:pt x="1" y="47"/>
                      <a:pt x="0" y="29"/>
                      <a:pt x="15" y="15"/>
                    </a:cubicBezTo>
                    <a:cubicBezTo>
                      <a:pt x="25" y="5"/>
                      <a:pt x="37" y="0"/>
                      <a:pt x="53" y="0"/>
                    </a:cubicBezTo>
                    <a:cubicBezTo>
                      <a:pt x="70" y="0"/>
                      <a:pt x="82" y="5"/>
                      <a:pt x="92" y="15"/>
                    </a:cubicBezTo>
                    <a:cubicBezTo>
                      <a:pt x="106" y="29"/>
                      <a:pt x="106" y="47"/>
                      <a:pt x="106" y="71"/>
                    </a:cubicBezTo>
                    <a:cubicBezTo>
                      <a:pt x="106" y="96"/>
                      <a:pt x="106" y="114"/>
                      <a:pt x="92" y="128"/>
                    </a:cubicBezTo>
                    <a:close/>
                    <a:moveTo>
                      <a:pt x="71" y="31"/>
                    </a:moveTo>
                    <a:lnTo>
                      <a:pt x="71" y="31"/>
                    </a:lnTo>
                    <a:cubicBezTo>
                      <a:pt x="67" y="27"/>
                      <a:pt x="61" y="24"/>
                      <a:pt x="53" y="24"/>
                    </a:cubicBezTo>
                    <a:cubicBezTo>
                      <a:pt x="46" y="24"/>
                      <a:pt x="39" y="27"/>
                      <a:pt x="35" y="31"/>
                    </a:cubicBezTo>
                    <a:cubicBezTo>
                      <a:pt x="30" y="37"/>
                      <a:pt x="29" y="44"/>
                      <a:pt x="29" y="71"/>
                    </a:cubicBezTo>
                    <a:cubicBezTo>
                      <a:pt x="29" y="99"/>
                      <a:pt x="30" y="105"/>
                      <a:pt x="35" y="111"/>
                    </a:cubicBezTo>
                    <a:cubicBezTo>
                      <a:pt x="39" y="116"/>
                      <a:pt x="46" y="119"/>
                      <a:pt x="53" y="119"/>
                    </a:cubicBezTo>
                    <a:cubicBezTo>
                      <a:pt x="61" y="119"/>
                      <a:pt x="67" y="116"/>
                      <a:pt x="71" y="111"/>
                    </a:cubicBezTo>
                    <a:cubicBezTo>
                      <a:pt x="77" y="105"/>
                      <a:pt x="78" y="99"/>
                      <a:pt x="78" y="71"/>
                    </a:cubicBezTo>
                    <a:cubicBezTo>
                      <a:pt x="78" y="44"/>
                      <a:pt x="77" y="37"/>
                      <a:pt x="71" y="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5" name="Freeform 31"/>
              <p:cNvSpPr>
                <a:spLocks noEditPoints="1"/>
              </p:cNvSpPr>
              <p:nvPr/>
            </p:nvSpPr>
            <p:spPr bwMode="auto">
              <a:xfrm>
                <a:off x="4016375" y="-1457326"/>
                <a:ext cx="95250" cy="128588"/>
              </a:xfrm>
              <a:custGeom>
                <a:avLst/>
                <a:gdLst>
                  <a:gd name="T0" fmla="*/ 75 w 107"/>
                  <a:gd name="T1" fmla="*/ 142 h 142"/>
                  <a:gd name="T2" fmla="*/ 75 w 107"/>
                  <a:gd name="T3" fmla="*/ 142 h 142"/>
                  <a:gd name="T4" fmla="*/ 47 w 107"/>
                  <a:gd name="T5" fmla="*/ 85 h 142"/>
                  <a:gd name="T6" fmla="*/ 27 w 107"/>
                  <a:gd name="T7" fmla="*/ 85 h 142"/>
                  <a:gd name="T8" fmla="*/ 27 w 107"/>
                  <a:gd name="T9" fmla="*/ 142 h 142"/>
                  <a:gd name="T10" fmla="*/ 0 w 107"/>
                  <a:gd name="T11" fmla="*/ 142 h 142"/>
                  <a:gd name="T12" fmla="*/ 0 w 107"/>
                  <a:gd name="T13" fmla="*/ 0 h 142"/>
                  <a:gd name="T14" fmla="*/ 55 w 107"/>
                  <a:gd name="T15" fmla="*/ 0 h 142"/>
                  <a:gd name="T16" fmla="*/ 102 w 107"/>
                  <a:gd name="T17" fmla="*/ 43 h 142"/>
                  <a:gd name="T18" fmla="*/ 76 w 107"/>
                  <a:gd name="T19" fmla="*/ 80 h 142"/>
                  <a:gd name="T20" fmla="*/ 107 w 107"/>
                  <a:gd name="T21" fmla="*/ 142 h 142"/>
                  <a:gd name="T22" fmla="*/ 75 w 107"/>
                  <a:gd name="T23" fmla="*/ 142 h 142"/>
                  <a:gd name="T24" fmla="*/ 54 w 107"/>
                  <a:gd name="T25" fmla="*/ 24 h 142"/>
                  <a:gd name="T26" fmla="*/ 54 w 107"/>
                  <a:gd name="T27" fmla="*/ 24 h 142"/>
                  <a:gd name="T28" fmla="*/ 27 w 107"/>
                  <a:gd name="T29" fmla="*/ 24 h 142"/>
                  <a:gd name="T30" fmla="*/ 27 w 107"/>
                  <a:gd name="T31" fmla="*/ 62 h 142"/>
                  <a:gd name="T32" fmla="*/ 54 w 107"/>
                  <a:gd name="T33" fmla="*/ 62 h 142"/>
                  <a:gd name="T34" fmla="*/ 74 w 107"/>
                  <a:gd name="T35" fmla="*/ 43 h 142"/>
                  <a:gd name="T36" fmla="*/ 54 w 107"/>
                  <a:gd name="T37" fmla="*/ 24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7" h="142">
                    <a:moveTo>
                      <a:pt x="75" y="142"/>
                    </a:moveTo>
                    <a:lnTo>
                      <a:pt x="75" y="142"/>
                    </a:lnTo>
                    <a:lnTo>
                      <a:pt x="47" y="85"/>
                    </a:lnTo>
                    <a:lnTo>
                      <a:pt x="27" y="85"/>
                    </a:lnTo>
                    <a:lnTo>
                      <a:pt x="27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55" y="0"/>
                    </a:lnTo>
                    <a:cubicBezTo>
                      <a:pt x="84" y="0"/>
                      <a:pt x="102" y="19"/>
                      <a:pt x="102" y="43"/>
                    </a:cubicBezTo>
                    <a:cubicBezTo>
                      <a:pt x="102" y="63"/>
                      <a:pt x="89" y="75"/>
                      <a:pt x="76" y="80"/>
                    </a:cubicBezTo>
                    <a:lnTo>
                      <a:pt x="107" y="142"/>
                    </a:lnTo>
                    <a:lnTo>
                      <a:pt x="75" y="142"/>
                    </a:lnTo>
                    <a:close/>
                    <a:moveTo>
                      <a:pt x="54" y="24"/>
                    </a:moveTo>
                    <a:lnTo>
                      <a:pt x="54" y="24"/>
                    </a:lnTo>
                    <a:lnTo>
                      <a:pt x="27" y="24"/>
                    </a:lnTo>
                    <a:lnTo>
                      <a:pt x="27" y="62"/>
                    </a:lnTo>
                    <a:lnTo>
                      <a:pt x="54" y="62"/>
                    </a:lnTo>
                    <a:cubicBezTo>
                      <a:pt x="66" y="62"/>
                      <a:pt x="74" y="54"/>
                      <a:pt x="74" y="43"/>
                    </a:cubicBezTo>
                    <a:cubicBezTo>
                      <a:pt x="74" y="32"/>
                      <a:pt x="66" y="24"/>
                      <a:pt x="54" y="24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6" name="Freeform 32"/>
              <p:cNvSpPr>
                <a:spLocks/>
              </p:cNvSpPr>
              <p:nvPr/>
            </p:nvSpPr>
            <p:spPr bwMode="auto">
              <a:xfrm>
                <a:off x="4122738" y="-1457326"/>
                <a:ext cx="92075" cy="128588"/>
              </a:xfrm>
              <a:custGeom>
                <a:avLst/>
                <a:gdLst>
                  <a:gd name="T0" fmla="*/ 0 w 103"/>
                  <a:gd name="T1" fmla="*/ 0 h 142"/>
                  <a:gd name="T2" fmla="*/ 0 w 103"/>
                  <a:gd name="T3" fmla="*/ 0 h 142"/>
                  <a:gd name="T4" fmla="*/ 0 w 103"/>
                  <a:gd name="T5" fmla="*/ 24 h 142"/>
                  <a:gd name="T6" fmla="*/ 38 w 103"/>
                  <a:gd name="T7" fmla="*/ 24 h 142"/>
                  <a:gd name="T8" fmla="*/ 38 w 103"/>
                  <a:gd name="T9" fmla="*/ 142 h 142"/>
                  <a:gd name="T10" fmla="*/ 65 w 103"/>
                  <a:gd name="T11" fmla="*/ 142 h 142"/>
                  <a:gd name="T12" fmla="*/ 65 w 103"/>
                  <a:gd name="T13" fmla="*/ 24 h 142"/>
                  <a:gd name="T14" fmla="*/ 103 w 103"/>
                  <a:gd name="T15" fmla="*/ 24 h 142"/>
                  <a:gd name="T16" fmla="*/ 103 w 103"/>
                  <a:gd name="T17" fmla="*/ 0 h 142"/>
                  <a:gd name="T18" fmla="*/ 0 w 103"/>
                  <a:gd name="T19" fmla="*/ 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3" h="142">
                    <a:moveTo>
                      <a:pt x="0" y="0"/>
                    </a:moveTo>
                    <a:lnTo>
                      <a:pt x="0" y="0"/>
                    </a:lnTo>
                    <a:lnTo>
                      <a:pt x="0" y="24"/>
                    </a:lnTo>
                    <a:lnTo>
                      <a:pt x="38" y="24"/>
                    </a:lnTo>
                    <a:lnTo>
                      <a:pt x="38" y="142"/>
                    </a:lnTo>
                    <a:lnTo>
                      <a:pt x="65" y="142"/>
                    </a:lnTo>
                    <a:lnTo>
                      <a:pt x="65" y="24"/>
                    </a:lnTo>
                    <a:lnTo>
                      <a:pt x="103" y="24"/>
                    </a:lnTo>
                    <a:lnTo>
                      <a:pt x="10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75" name="Chevrons"/>
          <p:cNvGrpSpPr/>
          <p:nvPr/>
        </p:nvGrpSpPr>
        <p:grpSpPr>
          <a:xfrm>
            <a:off x="4012585" y="1653488"/>
            <a:ext cx="215175" cy="74486"/>
            <a:chOff x="2177378" y="401620"/>
            <a:chExt cx="264150" cy="91440"/>
          </a:xfrm>
          <a:solidFill>
            <a:schemeClr val="accent5"/>
          </a:solidFill>
        </p:grpSpPr>
        <p:sp>
          <p:nvSpPr>
            <p:cNvPr id="315" name="Chevron 314"/>
            <p:cNvSpPr/>
            <p:nvPr/>
          </p:nvSpPr>
          <p:spPr>
            <a:xfrm>
              <a:off x="2177378" y="401620"/>
              <a:ext cx="91440" cy="9144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6" name="Chevron 315"/>
            <p:cNvSpPr/>
            <p:nvPr/>
          </p:nvSpPr>
          <p:spPr>
            <a:xfrm>
              <a:off x="2263733" y="401620"/>
              <a:ext cx="91440" cy="9144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7" name="Chevron 316"/>
            <p:cNvSpPr/>
            <p:nvPr/>
          </p:nvSpPr>
          <p:spPr>
            <a:xfrm>
              <a:off x="2350088" y="401620"/>
              <a:ext cx="91440" cy="9144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" name="Emptying Tan"/>
          <p:cNvGrpSpPr/>
          <p:nvPr/>
        </p:nvGrpSpPr>
        <p:grpSpPr>
          <a:xfrm>
            <a:off x="2687255" y="1464751"/>
            <a:ext cx="1280160" cy="2926080"/>
            <a:chOff x="2687255" y="1464751"/>
            <a:chExt cx="1280160" cy="2926080"/>
          </a:xfrm>
        </p:grpSpPr>
        <p:sp>
          <p:nvSpPr>
            <p:cNvPr id="146" name="Emptying Tan"/>
            <p:cNvSpPr/>
            <p:nvPr/>
          </p:nvSpPr>
          <p:spPr>
            <a:xfrm>
              <a:off x="2687255" y="1464751"/>
              <a:ext cx="1280160" cy="2926080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76" name="Emptying"/>
            <p:cNvGrpSpPr/>
            <p:nvPr/>
          </p:nvGrpSpPr>
          <p:grpSpPr>
            <a:xfrm>
              <a:off x="2982059" y="1637712"/>
              <a:ext cx="690552" cy="106039"/>
              <a:chOff x="2265363" y="-819151"/>
              <a:chExt cx="847725" cy="130175"/>
            </a:xfrm>
            <a:solidFill>
              <a:schemeClr val="accent5">
                <a:lumMod val="75000"/>
              </a:schemeClr>
            </a:solidFill>
          </p:grpSpPr>
          <p:sp>
            <p:nvSpPr>
              <p:cNvPr id="307" name="Freeform 16"/>
              <p:cNvSpPr>
                <a:spLocks/>
              </p:cNvSpPr>
              <p:nvPr/>
            </p:nvSpPr>
            <p:spPr bwMode="auto">
              <a:xfrm>
                <a:off x="2265363" y="-819151"/>
                <a:ext cx="84138" cy="128588"/>
              </a:xfrm>
              <a:custGeom>
                <a:avLst/>
                <a:gdLst>
                  <a:gd name="T0" fmla="*/ 0 w 94"/>
                  <a:gd name="T1" fmla="*/ 142 h 142"/>
                  <a:gd name="T2" fmla="*/ 0 w 94"/>
                  <a:gd name="T3" fmla="*/ 142 h 142"/>
                  <a:gd name="T4" fmla="*/ 0 w 94"/>
                  <a:gd name="T5" fmla="*/ 0 h 142"/>
                  <a:gd name="T6" fmla="*/ 94 w 94"/>
                  <a:gd name="T7" fmla="*/ 0 h 142"/>
                  <a:gd name="T8" fmla="*/ 94 w 94"/>
                  <a:gd name="T9" fmla="*/ 25 h 142"/>
                  <a:gd name="T10" fmla="*/ 28 w 94"/>
                  <a:gd name="T11" fmla="*/ 25 h 142"/>
                  <a:gd name="T12" fmla="*/ 28 w 94"/>
                  <a:gd name="T13" fmla="*/ 58 h 142"/>
                  <a:gd name="T14" fmla="*/ 84 w 94"/>
                  <a:gd name="T15" fmla="*/ 58 h 142"/>
                  <a:gd name="T16" fmla="*/ 84 w 94"/>
                  <a:gd name="T17" fmla="*/ 83 h 142"/>
                  <a:gd name="T18" fmla="*/ 28 w 94"/>
                  <a:gd name="T19" fmla="*/ 83 h 142"/>
                  <a:gd name="T20" fmla="*/ 28 w 94"/>
                  <a:gd name="T21" fmla="*/ 118 h 142"/>
                  <a:gd name="T22" fmla="*/ 94 w 94"/>
                  <a:gd name="T23" fmla="*/ 118 h 142"/>
                  <a:gd name="T24" fmla="*/ 94 w 94"/>
                  <a:gd name="T25" fmla="*/ 142 h 142"/>
                  <a:gd name="T26" fmla="*/ 0 w 94"/>
                  <a:gd name="T27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4" h="142">
                    <a:moveTo>
                      <a:pt x="0" y="142"/>
                    </a:moveTo>
                    <a:lnTo>
                      <a:pt x="0" y="142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94" y="25"/>
                    </a:lnTo>
                    <a:lnTo>
                      <a:pt x="28" y="25"/>
                    </a:lnTo>
                    <a:lnTo>
                      <a:pt x="28" y="58"/>
                    </a:lnTo>
                    <a:lnTo>
                      <a:pt x="84" y="58"/>
                    </a:lnTo>
                    <a:lnTo>
                      <a:pt x="84" y="83"/>
                    </a:lnTo>
                    <a:lnTo>
                      <a:pt x="28" y="83"/>
                    </a:lnTo>
                    <a:lnTo>
                      <a:pt x="28" y="118"/>
                    </a:lnTo>
                    <a:lnTo>
                      <a:pt x="94" y="118"/>
                    </a:lnTo>
                    <a:lnTo>
                      <a:pt x="94" y="142"/>
                    </a:lnTo>
                    <a:lnTo>
                      <a:pt x="0" y="14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8" name="Freeform 17"/>
              <p:cNvSpPr>
                <a:spLocks/>
              </p:cNvSpPr>
              <p:nvPr/>
            </p:nvSpPr>
            <p:spPr bwMode="auto">
              <a:xfrm>
                <a:off x="2371725" y="-819151"/>
                <a:ext cx="115888" cy="128588"/>
              </a:xfrm>
              <a:custGeom>
                <a:avLst/>
                <a:gdLst>
                  <a:gd name="T0" fmla="*/ 101 w 129"/>
                  <a:gd name="T1" fmla="*/ 142 h 142"/>
                  <a:gd name="T2" fmla="*/ 101 w 129"/>
                  <a:gd name="T3" fmla="*/ 142 h 142"/>
                  <a:gd name="T4" fmla="*/ 101 w 129"/>
                  <a:gd name="T5" fmla="*/ 59 h 142"/>
                  <a:gd name="T6" fmla="*/ 74 w 129"/>
                  <a:gd name="T7" fmla="*/ 113 h 142"/>
                  <a:gd name="T8" fmla="*/ 55 w 129"/>
                  <a:gd name="T9" fmla="*/ 113 h 142"/>
                  <a:gd name="T10" fmla="*/ 28 w 129"/>
                  <a:gd name="T11" fmla="*/ 59 h 142"/>
                  <a:gd name="T12" fmla="*/ 28 w 129"/>
                  <a:gd name="T13" fmla="*/ 142 h 142"/>
                  <a:gd name="T14" fmla="*/ 0 w 129"/>
                  <a:gd name="T15" fmla="*/ 142 h 142"/>
                  <a:gd name="T16" fmla="*/ 0 w 129"/>
                  <a:gd name="T17" fmla="*/ 0 h 142"/>
                  <a:gd name="T18" fmla="*/ 27 w 129"/>
                  <a:gd name="T19" fmla="*/ 0 h 142"/>
                  <a:gd name="T20" fmla="*/ 64 w 129"/>
                  <a:gd name="T21" fmla="*/ 77 h 142"/>
                  <a:gd name="T22" fmla="*/ 101 w 129"/>
                  <a:gd name="T23" fmla="*/ 0 h 142"/>
                  <a:gd name="T24" fmla="*/ 129 w 129"/>
                  <a:gd name="T25" fmla="*/ 0 h 142"/>
                  <a:gd name="T26" fmla="*/ 129 w 129"/>
                  <a:gd name="T27" fmla="*/ 142 h 142"/>
                  <a:gd name="T28" fmla="*/ 101 w 129"/>
                  <a:gd name="T29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9" h="142">
                    <a:moveTo>
                      <a:pt x="101" y="142"/>
                    </a:moveTo>
                    <a:lnTo>
                      <a:pt x="101" y="142"/>
                    </a:lnTo>
                    <a:lnTo>
                      <a:pt x="101" y="59"/>
                    </a:lnTo>
                    <a:lnTo>
                      <a:pt x="74" y="113"/>
                    </a:lnTo>
                    <a:lnTo>
                      <a:pt x="55" y="113"/>
                    </a:lnTo>
                    <a:lnTo>
                      <a:pt x="28" y="59"/>
                    </a:lnTo>
                    <a:lnTo>
                      <a:pt x="28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27" y="0"/>
                    </a:lnTo>
                    <a:lnTo>
                      <a:pt x="64" y="77"/>
                    </a:lnTo>
                    <a:lnTo>
                      <a:pt x="101" y="0"/>
                    </a:lnTo>
                    <a:lnTo>
                      <a:pt x="129" y="0"/>
                    </a:lnTo>
                    <a:lnTo>
                      <a:pt x="129" y="142"/>
                    </a:lnTo>
                    <a:lnTo>
                      <a:pt x="101" y="14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9" name="Freeform 18"/>
              <p:cNvSpPr>
                <a:spLocks noEditPoints="1"/>
              </p:cNvSpPr>
              <p:nvPr/>
            </p:nvSpPr>
            <p:spPr bwMode="auto">
              <a:xfrm>
                <a:off x="2516188" y="-819151"/>
                <a:ext cx="90488" cy="128588"/>
              </a:xfrm>
              <a:custGeom>
                <a:avLst/>
                <a:gdLst>
                  <a:gd name="T0" fmla="*/ 55 w 102"/>
                  <a:gd name="T1" fmla="*/ 89 h 142"/>
                  <a:gd name="T2" fmla="*/ 55 w 102"/>
                  <a:gd name="T3" fmla="*/ 89 h 142"/>
                  <a:gd name="T4" fmla="*/ 28 w 102"/>
                  <a:gd name="T5" fmla="*/ 89 h 142"/>
                  <a:gd name="T6" fmla="*/ 28 w 102"/>
                  <a:gd name="T7" fmla="*/ 142 h 142"/>
                  <a:gd name="T8" fmla="*/ 0 w 102"/>
                  <a:gd name="T9" fmla="*/ 142 h 142"/>
                  <a:gd name="T10" fmla="*/ 0 w 102"/>
                  <a:gd name="T11" fmla="*/ 0 h 142"/>
                  <a:gd name="T12" fmla="*/ 55 w 102"/>
                  <a:gd name="T13" fmla="*/ 0 h 142"/>
                  <a:gd name="T14" fmla="*/ 102 w 102"/>
                  <a:gd name="T15" fmla="*/ 44 h 142"/>
                  <a:gd name="T16" fmla="*/ 55 w 102"/>
                  <a:gd name="T17" fmla="*/ 89 h 142"/>
                  <a:gd name="T18" fmla="*/ 54 w 102"/>
                  <a:gd name="T19" fmla="*/ 25 h 142"/>
                  <a:gd name="T20" fmla="*/ 54 w 102"/>
                  <a:gd name="T21" fmla="*/ 25 h 142"/>
                  <a:gd name="T22" fmla="*/ 28 w 102"/>
                  <a:gd name="T23" fmla="*/ 25 h 142"/>
                  <a:gd name="T24" fmla="*/ 28 w 102"/>
                  <a:gd name="T25" fmla="*/ 64 h 142"/>
                  <a:gd name="T26" fmla="*/ 54 w 102"/>
                  <a:gd name="T27" fmla="*/ 64 h 142"/>
                  <a:gd name="T28" fmla="*/ 74 w 102"/>
                  <a:gd name="T29" fmla="*/ 44 h 142"/>
                  <a:gd name="T30" fmla="*/ 54 w 102"/>
                  <a:gd name="T31" fmla="*/ 25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2" h="142">
                    <a:moveTo>
                      <a:pt x="55" y="89"/>
                    </a:moveTo>
                    <a:lnTo>
                      <a:pt x="55" y="89"/>
                    </a:lnTo>
                    <a:lnTo>
                      <a:pt x="28" y="89"/>
                    </a:lnTo>
                    <a:lnTo>
                      <a:pt x="28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55" y="0"/>
                    </a:lnTo>
                    <a:cubicBezTo>
                      <a:pt x="84" y="0"/>
                      <a:pt x="102" y="20"/>
                      <a:pt x="102" y="44"/>
                    </a:cubicBezTo>
                    <a:cubicBezTo>
                      <a:pt x="102" y="68"/>
                      <a:pt x="84" y="89"/>
                      <a:pt x="55" y="89"/>
                    </a:cubicBezTo>
                    <a:close/>
                    <a:moveTo>
                      <a:pt x="54" y="25"/>
                    </a:moveTo>
                    <a:lnTo>
                      <a:pt x="54" y="25"/>
                    </a:lnTo>
                    <a:lnTo>
                      <a:pt x="28" y="25"/>
                    </a:lnTo>
                    <a:lnTo>
                      <a:pt x="28" y="64"/>
                    </a:lnTo>
                    <a:lnTo>
                      <a:pt x="54" y="64"/>
                    </a:lnTo>
                    <a:cubicBezTo>
                      <a:pt x="66" y="64"/>
                      <a:pt x="74" y="56"/>
                      <a:pt x="74" y="44"/>
                    </a:cubicBezTo>
                    <a:cubicBezTo>
                      <a:pt x="74" y="33"/>
                      <a:pt x="66" y="25"/>
                      <a:pt x="54" y="2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0" name="Freeform 19"/>
              <p:cNvSpPr>
                <a:spLocks/>
              </p:cNvSpPr>
              <p:nvPr/>
            </p:nvSpPr>
            <p:spPr bwMode="auto">
              <a:xfrm>
                <a:off x="2620963" y="-819151"/>
                <a:ext cx="90488" cy="128588"/>
              </a:xfrm>
              <a:custGeom>
                <a:avLst/>
                <a:gdLst>
                  <a:gd name="T0" fmla="*/ 65 w 102"/>
                  <a:gd name="T1" fmla="*/ 25 h 142"/>
                  <a:gd name="T2" fmla="*/ 65 w 102"/>
                  <a:gd name="T3" fmla="*/ 25 h 142"/>
                  <a:gd name="T4" fmla="*/ 65 w 102"/>
                  <a:gd name="T5" fmla="*/ 142 h 142"/>
                  <a:gd name="T6" fmla="*/ 37 w 102"/>
                  <a:gd name="T7" fmla="*/ 142 h 142"/>
                  <a:gd name="T8" fmla="*/ 37 w 102"/>
                  <a:gd name="T9" fmla="*/ 25 h 142"/>
                  <a:gd name="T10" fmla="*/ 0 w 102"/>
                  <a:gd name="T11" fmla="*/ 25 h 142"/>
                  <a:gd name="T12" fmla="*/ 0 w 102"/>
                  <a:gd name="T13" fmla="*/ 0 h 142"/>
                  <a:gd name="T14" fmla="*/ 102 w 102"/>
                  <a:gd name="T15" fmla="*/ 0 h 142"/>
                  <a:gd name="T16" fmla="*/ 102 w 102"/>
                  <a:gd name="T17" fmla="*/ 25 h 142"/>
                  <a:gd name="T18" fmla="*/ 65 w 102"/>
                  <a:gd name="T19" fmla="*/ 25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42">
                    <a:moveTo>
                      <a:pt x="65" y="25"/>
                    </a:moveTo>
                    <a:lnTo>
                      <a:pt x="65" y="25"/>
                    </a:lnTo>
                    <a:lnTo>
                      <a:pt x="65" y="142"/>
                    </a:lnTo>
                    <a:lnTo>
                      <a:pt x="37" y="142"/>
                    </a:lnTo>
                    <a:lnTo>
                      <a:pt x="37" y="25"/>
                    </a:lnTo>
                    <a:lnTo>
                      <a:pt x="0" y="25"/>
                    </a:lnTo>
                    <a:lnTo>
                      <a:pt x="0" y="0"/>
                    </a:lnTo>
                    <a:lnTo>
                      <a:pt x="102" y="0"/>
                    </a:lnTo>
                    <a:lnTo>
                      <a:pt x="102" y="25"/>
                    </a:lnTo>
                    <a:lnTo>
                      <a:pt x="65" y="2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1" name="Freeform 20"/>
              <p:cNvSpPr>
                <a:spLocks/>
              </p:cNvSpPr>
              <p:nvPr/>
            </p:nvSpPr>
            <p:spPr bwMode="auto">
              <a:xfrm>
                <a:off x="2725738" y="-819151"/>
                <a:ext cx="100013" cy="128588"/>
              </a:xfrm>
              <a:custGeom>
                <a:avLst/>
                <a:gdLst>
                  <a:gd name="T0" fmla="*/ 70 w 113"/>
                  <a:gd name="T1" fmla="*/ 84 h 142"/>
                  <a:gd name="T2" fmla="*/ 70 w 113"/>
                  <a:gd name="T3" fmla="*/ 84 h 142"/>
                  <a:gd name="T4" fmla="*/ 70 w 113"/>
                  <a:gd name="T5" fmla="*/ 142 h 142"/>
                  <a:gd name="T6" fmla="*/ 43 w 113"/>
                  <a:gd name="T7" fmla="*/ 142 h 142"/>
                  <a:gd name="T8" fmla="*/ 43 w 113"/>
                  <a:gd name="T9" fmla="*/ 84 h 142"/>
                  <a:gd name="T10" fmla="*/ 0 w 113"/>
                  <a:gd name="T11" fmla="*/ 0 h 142"/>
                  <a:gd name="T12" fmla="*/ 30 w 113"/>
                  <a:gd name="T13" fmla="*/ 0 h 142"/>
                  <a:gd name="T14" fmla="*/ 57 w 113"/>
                  <a:gd name="T15" fmla="*/ 57 h 142"/>
                  <a:gd name="T16" fmla="*/ 83 w 113"/>
                  <a:gd name="T17" fmla="*/ 0 h 142"/>
                  <a:gd name="T18" fmla="*/ 113 w 113"/>
                  <a:gd name="T19" fmla="*/ 0 h 142"/>
                  <a:gd name="T20" fmla="*/ 70 w 113"/>
                  <a:gd name="T21" fmla="*/ 84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3" h="142">
                    <a:moveTo>
                      <a:pt x="70" y="84"/>
                    </a:moveTo>
                    <a:lnTo>
                      <a:pt x="70" y="84"/>
                    </a:lnTo>
                    <a:lnTo>
                      <a:pt x="70" y="142"/>
                    </a:lnTo>
                    <a:lnTo>
                      <a:pt x="43" y="142"/>
                    </a:lnTo>
                    <a:lnTo>
                      <a:pt x="43" y="84"/>
                    </a:lnTo>
                    <a:lnTo>
                      <a:pt x="0" y="0"/>
                    </a:lnTo>
                    <a:lnTo>
                      <a:pt x="30" y="0"/>
                    </a:lnTo>
                    <a:lnTo>
                      <a:pt x="57" y="57"/>
                    </a:lnTo>
                    <a:lnTo>
                      <a:pt x="83" y="0"/>
                    </a:lnTo>
                    <a:lnTo>
                      <a:pt x="113" y="0"/>
                    </a:lnTo>
                    <a:lnTo>
                      <a:pt x="70" y="84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2" name="Freeform 21"/>
              <p:cNvSpPr>
                <a:spLocks/>
              </p:cNvSpPr>
              <p:nvPr/>
            </p:nvSpPr>
            <p:spPr bwMode="auto">
              <a:xfrm>
                <a:off x="2843213" y="-819151"/>
                <a:ext cx="25400" cy="128588"/>
              </a:xfrm>
              <a:custGeom>
                <a:avLst/>
                <a:gdLst>
                  <a:gd name="T0" fmla="*/ 0 w 28"/>
                  <a:gd name="T1" fmla="*/ 0 h 142"/>
                  <a:gd name="T2" fmla="*/ 0 w 28"/>
                  <a:gd name="T3" fmla="*/ 0 h 142"/>
                  <a:gd name="T4" fmla="*/ 28 w 28"/>
                  <a:gd name="T5" fmla="*/ 0 h 142"/>
                  <a:gd name="T6" fmla="*/ 28 w 28"/>
                  <a:gd name="T7" fmla="*/ 142 h 142"/>
                  <a:gd name="T8" fmla="*/ 0 w 28"/>
                  <a:gd name="T9" fmla="*/ 142 h 142"/>
                  <a:gd name="T10" fmla="*/ 0 w 28"/>
                  <a:gd name="T11" fmla="*/ 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142">
                    <a:moveTo>
                      <a:pt x="0" y="0"/>
                    </a:moveTo>
                    <a:lnTo>
                      <a:pt x="0" y="0"/>
                    </a:lnTo>
                    <a:lnTo>
                      <a:pt x="28" y="0"/>
                    </a:lnTo>
                    <a:lnTo>
                      <a:pt x="28" y="142"/>
                    </a:lnTo>
                    <a:lnTo>
                      <a:pt x="0" y="14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3" name="Freeform 22"/>
              <p:cNvSpPr>
                <a:spLocks/>
              </p:cNvSpPr>
              <p:nvPr/>
            </p:nvSpPr>
            <p:spPr bwMode="auto">
              <a:xfrm>
                <a:off x="2897188" y="-819151"/>
                <a:ext cx="96838" cy="128588"/>
              </a:xfrm>
              <a:custGeom>
                <a:avLst/>
                <a:gdLst>
                  <a:gd name="T0" fmla="*/ 84 w 109"/>
                  <a:gd name="T1" fmla="*/ 142 h 142"/>
                  <a:gd name="T2" fmla="*/ 84 w 109"/>
                  <a:gd name="T3" fmla="*/ 142 h 142"/>
                  <a:gd name="T4" fmla="*/ 28 w 109"/>
                  <a:gd name="T5" fmla="*/ 55 h 142"/>
                  <a:gd name="T6" fmla="*/ 28 w 109"/>
                  <a:gd name="T7" fmla="*/ 142 h 142"/>
                  <a:gd name="T8" fmla="*/ 0 w 109"/>
                  <a:gd name="T9" fmla="*/ 142 h 142"/>
                  <a:gd name="T10" fmla="*/ 0 w 109"/>
                  <a:gd name="T11" fmla="*/ 0 h 142"/>
                  <a:gd name="T12" fmla="*/ 25 w 109"/>
                  <a:gd name="T13" fmla="*/ 0 h 142"/>
                  <a:gd name="T14" fmla="*/ 81 w 109"/>
                  <a:gd name="T15" fmla="*/ 87 h 142"/>
                  <a:gd name="T16" fmla="*/ 81 w 109"/>
                  <a:gd name="T17" fmla="*/ 0 h 142"/>
                  <a:gd name="T18" fmla="*/ 109 w 109"/>
                  <a:gd name="T19" fmla="*/ 0 h 142"/>
                  <a:gd name="T20" fmla="*/ 109 w 109"/>
                  <a:gd name="T21" fmla="*/ 142 h 142"/>
                  <a:gd name="T22" fmla="*/ 84 w 109"/>
                  <a:gd name="T23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9" h="142">
                    <a:moveTo>
                      <a:pt x="84" y="142"/>
                    </a:moveTo>
                    <a:lnTo>
                      <a:pt x="84" y="142"/>
                    </a:lnTo>
                    <a:lnTo>
                      <a:pt x="28" y="55"/>
                    </a:lnTo>
                    <a:lnTo>
                      <a:pt x="28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25" y="0"/>
                    </a:lnTo>
                    <a:lnTo>
                      <a:pt x="81" y="87"/>
                    </a:lnTo>
                    <a:lnTo>
                      <a:pt x="81" y="0"/>
                    </a:lnTo>
                    <a:lnTo>
                      <a:pt x="109" y="0"/>
                    </a:lnTo>
                    <a:lnTo>
                      <a:pt x="109" y="142"/>
                    </a:lnTo>
                    <a:lnTo>
                      <a:pt x="84" y="14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4" name="Freeform 23"/>
              <p:cNvSpPr>
                <a:spLocks/>
              </p:cNvSpPr>
              <p:nvPr/>
            </p:nvSpPr>
            <p:spPr bwMode="auto">
              <a:xfrm>
                <a:off x="3017838" y="-819151"/>
                <a:ext cx="95250" cy="130175"/>
              </a:xfrm>
              <a:custGeom>
                <a:avLst/>
                <a:gdLst>
                  <a:gd name="T0" fmla="*/ 93 w 107"/>
                  <a:gd name="T1" fmla="*/ 128 h 145"/>
                  <a:gd name="T2" fmla="*/ 93 w 107"/>
                  <a:gd name="T3" fmla="*/ 128 h 145"/>
                  <a:gd name="T4" fmla="*/ 53 w 107"/>
                  <a:gd name="T5" fmla="*/ 145 h 145"/>
                  <a:gd name="T6" fmla="*/ 15 w 107"/>
                  <a:gd name="T7" fmla="*/ 129 h 145"/>
                  <a:gd name="T8" fmla="*/ 1 w 107"/>
                  <a:gd name="T9" fmla="*/ 72 h 145"/>
                  <a:gd name="T10" fmla="*/ 15 w 107"/>
                  <a:gd name="T11" fmla="*/ 15 h 145"/>
                  <a:gd name="T12" fmla="*/ 53 w 107"/>
                  <a:gd name="T13" fmla="*/ 0 h 145"/>
                  <a:gd name="T14" fmla="*/ 107 w 107"/>
                  <a:gd name="T15" fmla="*/ 45 h 145"/>
                  <a:gd name="T16" fmla="*/ 79 w 107"/>
                  <a:gd name="T17" fmla="*/ 45 h 145"/>
                  <a:gd name="T18" fmla="*/ 53 w 107"/>
                  <a:gd name="T19" fmla="*/ 25 h 145"/>
                  <a:gd name="T20" fmla="*/ 35 w 107"/>
                  <a:gd name="T21" fmla="*/ 32 h 145"/>
                  <a:gd name="T22" fmla="*/ 29 w 107"/>
                  <a:gd name="T23" fmla="*/ 72 h 145"/>
                  <a:gd name="T24" fmla="*/ 35 w 107"/>
                  <a:gd name="T25" fmla="*/ 112 h 145"/>
                  <a:gd name="T26" fmla="*/ 53 w 107"/>
                  <a:gd name="T27" fmla="*/ 120 h 145"/>
                  <a:gd name="T28" fmla="*/ 73 w 107"/>
                  <a:gd name="T29" fmla="*/ 112 h 145"/>
                  <a:gd name="T30" fmla="*/ 79 w 107"/>
                  <a:gd name="T31" fmla="*/ 93 h 145"/>
                  <a:gd name="T32" fmla="*/ 79 w 107"/>
                  <a:gd name="T33" fmla="*/ 87 h 145"/>
                  <a:gd name="T34" fmla="*/ 53 w 107"/>
                  <a:gd name="T35" fmla="*/ 87 h 145"/>
                  <a:gd name="T36" fmla="*/ 53 w 107"/>
                  <a:gd name="T37" fmla="*/ 64 h 145"/>
                  <a:gd name="T38" fmla="*/ 107 w 107"/>
                  <a:gd name="T39" fmla="*/ 64 h 145"/>
                  <a:gd name="T40" fmla="*/ 107 w 107"/>
                  <a:gd name="T41" fmla="*/ 85 h 145"/>
                  <a:gd name="T42" fmla="*/ 93 w 107"/>
                  <a:gd name="T43" fmla="*/ 128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07" h="145">
                    <a:moveTo>
                      <a:pt x="93" y="128"/>
                    </a:moveTo>
                    <a:lnTo>
                      <a:pt x="93" y="128"/>
                    </a:lnTo>
                    <a:cubicBezTo>
                      <a:pt x="82" y="140"/>
                      <a:pt x="68" y="145"/>
                      <a:pt x="53" y="145"/>
                    </a:cubicBezTo>
                    <a:cubicBezTo>
                      <a:pt x="38" y="145"/>
                      <a:pt x="25" y="139"/>
                      <a:pt x="15" y="129"/>
                    </a:cubicBezTo>
                    <a:cubicBezTo>
                      <a:pt x="0" y="115"/>
                      <a:pt x="1" y="97"/>
                      <a:pt x="1" y="72"/>
                    </a:cubicBezTo>
                    <a:cubicBezTo>
                      <a:pt x="1" y="48"/>
                      <a:pt x="0" y="30"/>
                      <a:pt x="15" y="15"/>
                    </a:cubicBezTo>
                    <a:cubicBezTo>
                      <a:pt x="25" y="5"/>
                      <a:pt x="37" y="0"/>
                      <a:pt x="53" y="0"/>
                    </a:cubicBezTo>
                    <a:cubicBezTo>
                      <a:pt x="86" y="0"/>
                      <a:pt x="103" y="21"/>
                      <a:pt x="107" y="45"/>
                    </a:cubicBezTo>
                    <a:lnTo>
                      <a:pt x="79" y="45"/>
                    </a:lnTo>
                    <a:cubicBezTo>
                      <a:pt x="76" y="32"/>
                      <a:pt x="67" y="25"/>
                      <a:pt x="53" y="25"/>
                    </a:cubicBezTo>
                    <a:cubicBezTo>
                      <a:pt x="46" y="25"/>
                      <a:pt x="39" y="28"/>
                      <a:pt x="35" y="32"/>
                    </a:cubicBezTo>
                    <a:cubicBezTo>
                      <a:pt x="30" y="38"/>
                      <a:pt x="29" y="45"/>
                      <a:pt x="29" y="72"/>
                    </a:cubicBezTo>
                    <a:cubicBezTo>
                      <a:pt x="29" y="100"/>
                      <a:pt x="30" y="106"/>
                      <a:pt x="35" y="112"/>
                    </a:cubicBezTo>
                    <a:cubicBezTo>
                      <a:pt x="39" y="117"/>
                      <a:pt x="46" y="120"/>
                      <a:pt x="53" y="120"/>
                    </a:cubicBezTo>
                    <a:cubicBezTo>
                      <a:pt x="62" y="120"/>
                      <a:pt x="68" y="117"/>
                      <a:pt x="73" y="112"/>
                    </a:cubicBezTo>
                    <a:cubicBezTo>
                      <a:pt x="78" y="107"/>
                      <a:pt x="79" y="100"/>
                      <a:pt x="79" y="93"/>
                    </a:cubicBezTo>
                    <a:lnTo>
                      <a:pt x="79" y="87"/>
                    </a:lnTo>
                    <a:lnTo>
                      <a:pt x="53" y="87"/>
                    </a:lnTo>
                    <a:lnTo>
                      <a:pt x="53" y="64"/>
                    </a:lnTo>
                    <a:lnTo>
                      <a:pt x="107" y="64"/>
                    </a:lnTo>
                    <a:lnTo>
                      <a:pt x="107" y="85"/>
                    </a:lnTo>
                    <a:cubicBezTo>
                      <a:pt x="107" y="106"/>
                      <a:pt x="103" y="118"/>
                      <a:pt x="93" y="128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86" name="Chevrons"/>
          <p:cNvGrpSpPr/>
          <p:nvPr/>
        </p:nvGrpSpPr>
        <p:grpSpPr>
          <a:xfrm>
            <a:off x="2431388" y="1653488"/>
            <a:ext cx="215175" cy="74486"/>
            <a:chOff x="2177378" y="401620"/>
            <a:chExt cx="264150" cy="91440"/>
          </a:xfrm>
          <a:solidFill>
            <a:schemeClr val="accent5"/>
          </a:solidFill>
        </p:grpSpPr>
        <p:sp>
          <p:nvSpPr>
            <p:cNvPr id="304" name="Chevron 303"/>
            <p:cNvSpPr/>
            <p:nvPr/>
          </p:nvSpPr>
          <p:spPr>
            <a:xfrm>
              <a:off x="2177378" y="401620"/>
              <a:ext cx="91440" cy="9144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5" name="Chevron 304"/>
            <p:cNvSpPr/>
            <p:nvPr/>
          </p:nvSpPr>
          <p:spPr>
            <a:xfrm>
              <a:off x="2263733" y="401620"/>
              <a:ext cx="91440" cy="9144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6" name="Chevron 305"/>
            <p:cNvSpPr/>
            <p:nvPr/>
          </p:nvSpPr>
          <p:spPr>
            <a:xfrm>
              <a:off x="2350088" y="401620"/>
              <a:ext cx="91440" cy="9144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" name="Containment Tan"/>
          <p:cNvGrpSpPr/>
          <p:nvPr/>
        </p:nvGrpSpPr>
        <p:grpSpPr>
          <a:xfrm>
            <a:off x="1106424" y="1463039"/>
            <a:ext cx="1280160" cy="2927792"/>
            <a:chOff x="1106424" y="1463039"/>
            <a:chExt cx="1280160" cy="2927792"/>
          </a:xfrm>
        </p:grpSpPr>
        <p:sp>
          <p:nvSpPr>
            <p:cNvPr id="214" name="Containment Tan"/>
            <p:cNvSpPr/>
            <p:nvPr/>
          </p:nvSpPr>
          <p:spPr>
            <a:xfrm>
              <a:off x="1106424" y="1463039"/>
              <a:ext cx="1280160" cy="292779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87" name="Containment Tan text"/>
            <p:cNvGrpSpPr/>
            <p:nvPr/>
          </p:nvGrpSpPr>
          <p:grpSpPr>
            <a:xfrm>
              <a:off x="1258662" y="1637712"/>
              <a:ext cx="978930" cy="106039"/>
              <a:chOff x="85725" y="-819151"/>
              <a:chExt cx="1201738" cy="130175"/>
            </a:xfrm>
            <a:solidFill>
              <a:schemeClr val="accent5">
                <a:lumMod val="75000"/>
              </a:schemeClr>
            </a:solidFill>
          </p:grpSpPr>
          <p:sp>
            <p:nvSpPr>
              <p:cNvPr id="293" name="Freeform 5"/>
              <p:cNvSpPr>
                <a:spLocks/>
              </p:cNvSpPr>
              <p:nvPr/>
            </p:nvSpPr>
            <p:spPr bwMode="auto">
              <a:xfrm>
                <a:off x="85725" y="-819151"/>
                <a:ext cx="92075" cy="130175"/>
              </a:xfrm>
              <a:custGeom>
                <a:avLst/>
                <a:gdLst>
                  <a:gd name="T0" fmla="*/ 52 w 104"/>
                  <a:gd name="T1" fmla="*/ 144 h 144"/>
                  <a:gd name="T2" fmla="*/ 52 w 104"/>
                  <a:gd name="T3" fmla="*/ 144 h 144"/>
                  <a:gd name="T4" fmla="*/ 14 w 104"/>
                  <a:gd name="T5" fmla="*/ 129 h 144"/>
                  <a:gd name="T6" fmla="*/ 0 w 104"/>
                  <a:gd name="T7" fmla="*/ 72 h 144"/>
                  <a:gd name="T8" fmla="*/ 14 w 104"/>
                  <a:gd name="T9" fmla="*/ 15 h 144"/>
                  <a:gd name="T10" fmla="*/ 52 w 104"/>
                  <a:gd name="T11" fmla="*/ 0 h 144"/>
                  <a:gd name="T12" fmla="*/ 104 w 104"/>
                  <a:gd name="T13" fmla="*/ 45 h 144"/>
                  <a:gd name="T14" fmla="*/ 76 w 104"/>
                  <a:gd name="T15" fmla="*/ 45 h 144"/>
                  <a:gd name="T16" fmla="*/ 52 w 104"/>
                  <a:gd name="T17" fmla="*/ 25 h 144"/>
                  <a:gd name="T18" fmla="*/ 34 w 104"/>
                  <a:gd name="T19" fmla="*/ 32 h 144"/>
                  <a:gd name="T20" fmla="*/ 27 w 104"/>
                  <a:gd name="T21" fmla="*/ 72 h 144"/>
                  <a:gd name="T22" fmla="*/ 34 w 104"/>
                  <a:gd name="T23" fmla="*/ 112 h 144"/>
                  <a:gd name="T24" fmla="*/ 52 w 104"/>
                  <a:gd name="T25" fmla="*/ 120 h 144"/>
                  <a:gd name="T26" fmla="*/ 76 w 104"/>
                  <a:gd name="T27" fmla="*/ 99 h 144"/>
                  <a:gd name="T28" fmla="*/ 104 w 104"/>
                  <a:gd name="T29" fmla="*/ 99 h 144"/>
                  <a:gd name="T30" fmla="*/ 52 w 104"/>
                  <a:gd name="T31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4" h="144">
                    <a:moveTo>
                      <a:pt x="52" y="144"/>
                    </a:moveTo>
                    <a:lnTo>
                      <a:pt x="52" y="144"/>
                    </a:lnTo>
                    <a:cubicBezTo>
                      <a:pt x="36" y="144"/>
                      <a:pt x="24" y="139"/>
                      <a:pt x="14" y="129"/>
                    </a:cubicBezTo>
                    <a:cubicBezTo>
                      <a:pt x="0" y="114"/>
                      <a:pt x="0" y="97"/>
                      <a:pt x="0" y="72"/>
                    </a:cubicBezTo>
                    <a:cubicBezTo>
                      <a:pt x="0" y="48"/>
                      <a:pt x="0" y="30"/>
                      <a:pt x="14" y="15"/>
                    </a:cubicBezTo>
                    <a:cubicBezTo>
                      <a:pt x="24" y="5"/>
                      <a:pt x="36" y="0"/>
                      <a:pt x="52" y="0"/>
                    </a:cubicBezTo>
                    <a:cubicBezTo>
                      <a:pt x="78" y="0"/>
                      <a:pt x="99" y="15"/>
                      <a:pt x="104" y="45"/>
                    </a:cubicBezTo>
                    <a:lnTo>
                      <a:pt x="76" y="45"/>
                    </a:lnTo>
                    <a:cubicBezTo>
                      <a:pt x="73" y="33"/>
                      <a:pt x="66" y="25"/>
                      <a:pt x="52" y="25"/>
                    </a:cubicBezTo>
                    <a:cubicBezTo>
                      <a:pt x="44" y="25"/>
                      <a:pt x="38" y="27"/>
                      <a:pt x="34" y="32"/>
                    </a:cubicBezTo>
                    <a:cubicBezTo>
                      <a:pt x="29" y="38"/>
                      <a:pt x="27" y="45"/>
                      <a:pt x="27" y="72"/>
                    </a:cubicBezTo>
                    <a:cubicBezTo>
                      <a:pt x="27" y="99"/>
                      <a:pt x="29" y="106"/>
                      <a:pt x="34" y="112"/>
                    </a:cubicBezTo>
                    <a:cubicBezTo>
                      <a:pt x="38" y="117"/>
                      <a:pt x="44" y="120"/>
                      <a:pt x="52" y="120"/>
                    </a:cubicBezTo>
                    <a:cubicBezTo>
                      <a:pt x="66" y="120"/>
                      <a:pt x="73" y="111"/>
                      <a:pt x="76" y="99"/>
                    </a:cubicBezTo>
                    <a:lnTo>
                      <a:pt x="104" y="99"/>
                    </a:lnTo>
                    <a:cubicBezTo>
                      <a:pt x="99" y="129"/>
                      <a:pt x="78" y="144"/>
                      <a:pt x="52" y="144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4" name="Freeform 6"/>
              <p:cNvSpPr>
                <a:spLocks noEditPoints="1"/>
              </p:cNvSpPr>
              <p:nvPr/>
            </p:nvSpPr>
            <p:spPr bwMode="auto">
              <a:xfrm>
                <a:off x="196850" y="-819151"/>
                <a:ext cx="93663" cy="130175"/>
              </a:xfrm>
              <a:custGeom>
                <a:avLst/>
                <a:gdLst>
                  <a:gd name="T0" fmla="*/ 91 w 105"/>
                  <a:gd name="T1" fmla="*/ 129 h 144"/>
                  <a:gd name="T2" fmla="*/ 91 w 105"/>
                  <a:gd name="T3" fmla="*/ 129 h 144"/>
                  <a:gd name="T4" fmla="*/ 53 w 105"/>
                  <a:gd name="T5" fmla="*/ 144 h 144"/>
                  <a:gd name="T6" fmla="*/ 14 w 105"/>
                  <a:gd name="T7" fmla="*/ 129 h 144"/>
                  <a:gd name="T8" fmla="*/ 0 w 105"/>
                  <a:gd name="T9" fmla="*/ 72 h 144"/>
                  <a:gd name="T10" fmla="*/ 14 w 105"/>
                  <a:gd name="T11" fmla="*/ 15 h 144"/>
                  <a:gd name="T12" fmla="*/ 53 w 105"/>
                  <a:gd name="T13" fmla="*/ 0 h 144"/>
                  <a:gd name="T14" fmla="*/ 91 w 105"/>
                  <a:gd name="T15" fmla="*/ 15 h 144"/>
                  <a:gd name="T16" fmla="*/ 105 w 105"/>
                  <a:gd name="T17" fmla="*/ 72 h 144"/>
                  <a:gd name="T18" fmla="*/ 91 w 105"/>
                  <a:gd name="T19" fmla="*/ 129 h 144"/>
                  <a:gd name="T20" fmla="*/ 70 w 105"/>
                  <a:gd name="T21" fmla="*/ 32 h 144"/>
                  <a:gd name="T22" fmla="*/ 70 w 105"/>
                  <a:gd name="T23" fmla="*/ 32 h 144"/>
                  <a:gd name="T24" fmla="*/ 53 w 105"/>
                  <a:gd name="T25" fmla="*/ 25 h 144"/>
                  <a:gd name="T26" fmla="*/ 35 w 105"/>
                  <a:gd name="T27" fmla="*/ 32 h 144"/>
                  <a:gd name="T28" fmla="*/ 28 w 105"/>
                  <a:gd name="T29" fmla="*/ 72 h 144"/>
                  <a:gd name="T30" fmla="*/ 35 w 105"/>
                  <a:gd name="T31" fmla="*/ 112 h 144"/>
                  <a:gd name="T32" fmla="*/ 53 w 105"/>
                  <a:gd name="T33" fmla="*/ 120 h 144"/>
                  <a:gd name="T34" fmla="*/ 70 w 105"/>
                  <a:gd name="T35" fmla="*/ 112 h 144"/>
                  <a:gd name="T36" fmla="*/ 77 w 105"/>
                  <a:gd name="T37" fmla="*/ 72 h 144"/>
                  <a:gd name="T38" fmla="*/ 70 w 105"/>
                  <a:gd name="T39" fmla="*/ 32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5" h="144">
                    <a:moveTo>
                      <a:pt x="91" y="129"/>
                    </a:moveTo>
                    <a:lnTo>
                      <a:pt x="91" y="129"/>
                    </a:lnTo>
                    <a:cubicBezTo>
                      <a:pt x="81" y="139"/>
                      <a:pt x="69" y="144"/>
                      <a:pt x="53" y="144"/>
                    </a:cubicBezTo>
                    <a:cubicBezTo>
                      <a:pt x="36" y="144"/>
                      <a:pt x="24" y="139"/>
                      <a:pt x="14" y="129"/>
                    </a:cubicBezTo>
                    <a:cubicBezTo>
                      <a:pt x="0" y="114"/>
                      <a:pt x="0" y="97"/>
                      <a:pt x="0" y="72"/>
                    </a:cubicBezTo>
                    <a:cubicBezTo>
                      <a:pt x="0" y="48"/>
                      <a:pt x="0" y="30"/>
                      <a:pt x="14" y="15"/>
                    </a:cubicBezTo>
                    <a:cubicBezTo>
                      <a:pt x="24" y="5"/>
                      <a:pt x="36" y="0"/>
                      <a:pt x="53" y="0"/>
                    </a:cubicBezTo>
                    <a:cubicBezTo>
                      <a:pt x="69" y="0"/>
                      <a:pt x="81" y="5"/>
                      <a:pt x="91" y="15"/>
                    </a:cubicBezTo>
                    <a:cubicBezTo>
                      <a:pt x="105" y="30"/>
                      <a:pt x="105" y="48"/>
                      <a:pt x="105" y="72"/>
                    </a:cubicBezTo>
                    <a:cubicBezTo>
                      <a:pt x="105" y="97"/>
                      <a:pt x="105" y="114"/>
                      <a:pt x="91" y="129"/>
                    </a:cubicBezTo>
                    <a:close/>
                    <a:moveTo>
                      <a:pt x="70" y="32"/>
                    </a:moveTo>
                    <a:lnTo>
                      <a:pt x="70" y="32"/>
                    </a:lnTo>
                    <a:cubicBezTo>
                      <a:pt x="66" y="28"/>
                      <a:pt x="60" y="25"/>
                      <a:pt x="53" y="25"/>
                    </a:cubicBezTo>
                    <a:cubicBezTo>
                      <a:pt x="45" y="25"/>
                      <a:pt x="39" y="28"/>
                      <a:pt x="35" y="32"/>
                    </a:cubicBezTo>
                    <a:cubicBezTo>
                      <a:pt x="29" y="38"/>
                      <a:pt x="28" y="45"/>
                      <a:pt x="28" y="72"/>
                    </a:cubicBezTo>
                    <a:cubicBezTo>
                      <a:pt x="28" y="99"/>
                      <a:pt x="29" y="106"/>
                      <a:pt x="35" y="112"/>
                    </a:cubicBezTo>
                    <a:cubicBezTo>
                      <a:pt x="39" y="117"/>
                      <a:pt x="45" y="120"/>
                      <a:pt x="53" y="120"/>
                    </a:cubicBezTo>
                    <a:cubicBezTo>
                      <a:pt x="60" y="120"/>
                      <a:pt x="66" y="117"/>
                      <a:pt x="70" y="112"/>
                    </a:cubicBezTo>
                    <a:cubicBezTo>
                      <a:pt x="76" y="106"/>
                      <a:pt x="77" y="99"/>
                      <a:pt x="77" y="72"/>
                    </a:cubicBezTo>
                    <a:cubicBezTo>
                      <a:pt x="77" y="45"/>
                      <a:pt x="76" y="38"/>
                      <a:pt x="70" y="3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5" name="Freeform 7"/>
              <p:cNvSpPr>
                <a:spLocks/>
              </p:cNvSpPr>
              <p:nvPr/>
            </p:nvSpPr>
            <p:spPr bwMode="auto">
              <a:xfrm>
                <a:off x="315913" y="-819151"/>
                <a:ext cx="96838" cy="128588"/>
              </a:xfrm>
              <a:custGeom>
                <a:avLst/>
                <a:gdLst>
                  <a:gd name="T0" fmla="*/ 84 w 109"/>
                  <a:gd name="T1" fmla="*/ 142 h 142"/>
                  <a:gd name="T2" fmla="*/ 84 w 109"/>
                  <a:gd name="T3" fmla="*/ 142 h 142"/>
                  <a:gd name="T4" fmla="*/ 28 w 109"/>
                  <a:gd name="T5" fmla="*/ 55 h 142"/>
                  <a:gd name="T6" fmla="*/ 28 w 109"/>
                  <a:gd name="T7" fmla="*/ 142 h 142"/>
                  <a:gd name="T8" fmla="*/ 0 w 109"/>
                  <a:gd name="T9" fmla="*/ 142 h 142"/>
                  <a:gd name="T10" fmla="*/ 0 w 109"/>
                  <a:gd name="T11" fmla="*/ 0 h 142"/>
                  <a:gd name="T12" fmla="*/ 25 w 109"/>
                  <a:gd name="T13" fmla="*/ 0 h 142"/>
                  <a:gd name="T14" fmla="*/ 81 w 109"/>
                  <a:gd name="T15" fmla="*/ 87 h 142"/>
                  <a:gd name="T16" fmla="*/ 81 w 109"/>
                  <a:gd name="T17" fmla="*/ 0 h 142"/>
                  <a:gd name="T18" fmla="*/ 109 w 109"/>
                  <a:gd name="T19" fmla="*/ 0 h 142"/>
                  <a:gd name="T20" fmla="*/ 109 w 109"/>
                  <a:gd name="T21" fmla="*/ 142 h 142"/>
                  <a:gd name="T22" fmla="*/ 84 w 109"/>
                  <a:gd name="T23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9" h="142">
                    <a:moveTo>
                      <a:pt x="84" y="142"/>
                    </a:moveTo>
                    <a:lnTo>
                      <a:pt x="84" y="142"/>
                    </a:lnTo>
                    <a:lnTo>
                      <a:pt x="28" y="55"/>
                    </a:lnTo>
                    <a:lnTo>
                      <a:pt x="28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25" y="0"/>
                    </a:lnTo>
                    <a:lnTo>
                      <a:pt x="81" y="87"/>
                    </a:lnTo>
                    <a:lnTo>
                      <a:pt x="81" y="0"/>
                    </a:lnTo>
                    <a:lnTo>
                      <a:pt x="109" y="0"/>
                    </a:lnTo>
                    <a:lnTo>
                      <a:pt x="109" y="142"/>
                    </a:lnTo>
                    <a:lnTo>
                      <a:pt x="84" y="14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6" name="Freeform 8"/>
              <p:cNvSpPr>
                <a:spLocks/>
              </p:cNvSpPr>
              <p:nvPr/>
            </p:nvSpPr>
            <p:spPr bwMode="auto">
              <a:xfrm>
                <a:off x="431800" y="-819151"/>
                <a:ext cx="92075" cy="128588"/>
              </a:xfrm>
              <a:custGeom>
                <a:avLst/>
                <a:gdLst>
                  <a:gd name="T0" fmla="*/ 65 w 103"/>
                  <a:gd name="T1" fmla="*/ 25 h 142"/>
                  <a:gd name="T2" fmla="*/ 65 w 103"/>
                  <a:gd name="T3" fmla="*/ 25 h 142"/>
                  <a:gd name="T4" fmla="*/ 65 w 103"/>
                  <a:gd name="T5" fmla="*/ 142 h 142"/>
                  <a:gd name="T6" fmla="*/ 38 w 103"/>
                  <a:gd name="T7" fmla="*/ 142 h 142"/>
                  <a:gd name="T8" fmla="*/ 38 w 103"/>
                  <a:gd name="T9" fmla="*/ 25 h 142"/>
                  <a:gd name="T10" fmla="*/ 0 w 103"/>
                  <a:gd name="T11" fmla="*/ 25 h 142"/>
                  <a:gd name="T12" fmla="*/ 0 w 103"/>
                  <a:gd name="T13" fmla="*/ 0 h 142"/>
                  <a:gd name="T14" fmla="*/ 103 w 103"/>
                  <a:gd name="T15" fmla="*/ 0 h 142"/>
                  <a:gd name="T16" fmla="*/ 103 w 103"/>
                  <a:gd name="T17" fmla="*/ 25 h 142"/>
                  <a:gd name="T18" fmla="*/ 65 w 103"/>
                  <a:gd name="T19" fmla="*/ 25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3" h="142">
                    <a:moveTo>
                      <a:pt x="65" y="25"/>
                    </a:moveTo>
                    <a:lnTo>
                      <a:pt x="65" y="25"/>
                    </a:lnTo>
                    <a:lnTo>
                      <a:pt x="65" y="142"/>
                    </a:lnTo>
                    <a:lnTo>
                      <a:pt x="38" y="142"/>
                    </a:lnTo>
                    <a:lnTo>
                      <a:pt x="38" y="25"/>
                    </a:lnTo>
                    <a:lnTo>
                      <a:pt x="0" y="25"/>
                    </a:lnTo>
                    <a:lnTo>
                      <a:pt x="0" y="0"/>
                    </a:lnTo>
                    <a:lnTo>
                      <a:pt x="103" y="0"/>
                    </a:lnTo>
                    <a:lnTo>
                      <a:pt x="103" y="25"/>
                    </a:lnTo>
                    <a:lnTo>
                      <a:pt x="65" y="2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7" name="Freeform 9"/>
              <p:cNvSpPr>
                <a:spLocks noEditPoints="1"/>
              </p:cNvSpPr>
              <p:nvPr/>
            </p:nvSpPr>
            <p:spPr bwMode="auto">
              <a:xfrm>
                <a:off x="520700" y="-819151"/>
                <a:ext cx="111125" cy="128588"/>
              </a:xfrm>
              <a:custGeom>
                <a:avLst/>
                <a:gdLst>
                  <a:gd name="T0" fmla="*/ 96 w 125"/>
                  <a:gd name="T1" fmla="*/ 142 h 142"/>
                  <a:gd name="T2" fmla="*/ 96 w 125"/>
                  <a:gd name="T3" fmla="*/ 142 h 142"/>
                  <a:gd name="T4" fmla="*/ 88 w 125"/>
                  <a:gd name="T5" fmla="*/ 117 h 142"/>
                  <a:gd name="T6" fmla="*/ 37 w 125"/>
                  <a:gd name="T7" fmla="*/ 117 h 142"/>
                  <a:gd name="T8" fmla="*/ 29 w 125"/>
                  <a:gd name="T9" fmla="*/ 142 h 142"/>
                  <a:gd name="T10" fmla="*/ 0 w 125"/>
                  <a:gd name="T11" fmla="*/ 142 h 142"/>
                  <a:gd name="T12" fmla="*/ 51 w 125"/>
                  <a:gd name="T13" fmla="*/ 0 h 142"/>
                  <a:gd name="T14" fmla="*/ 73 w 125"/>
                  <a:gd name="T15" fmla="*/ 0 h 142"/>
                  <a:gd name="T16" fmla="*/ 125 w 125"/>
                  <a:gd name="T17" fmla="*/ 142 h 142"/>
                  <a:gd name="T18" fmla="*/ 96 w 125"/>
                  <a:gd name="T19" fmla="*/ 142 h 142"/>
                  <a:gd name="T20" fmla="*/ 63 w 125"/>
                  <a:gd name="T21" fmla="*/ 42 h 142"/>
                  <a:gd name="T22" fmla="*/ 63 w 125"/>
                  <a:gd name="T23" fmla="*/ 42 h 142"/>
                  <a:gd name="T24" fmla="*/ 45 w 125"/>
                  <a:gd name="T25" fmla="*/ 94 h 142"/>
                  <a:gd name="T26" fmla="*/ 80 w 125"/>
                  <a:gd name="T27" fmla="*/ 94 h 142"/>
                  <a:gd name="T28" fmla="*/ 63 w 125"/>
                  <a:gd name="T29" fmla="*/ 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5" h="142">
                    <a:moveTo>
                      <a:pt x="96" y="142"/>
                    </a:moveTo>
                    <a:lnTo>
                      <a:pt x="96" y="142"/>
                    </a:lnTo>
                    <a:lnTo>
                      <a:pt x="88" y="117"/>
                    </a:lnTo>
                    <a:lnTo>
                      <a:pt x="37" y="117"/>
                    </a:lnTo>
                    <a:lnTo>
                      <a:pt x="29" y="142"/>
                    </a:lnTo>
                    <a:lnTo>
                      <a:pt x="0" y="142"/>
                    </a:lnTo>
                    <a:lnTo>
                      <a:pt x="51" y="0"/>
                    </a:lnTo>
                    <a:lnTo>
                      <a:pt x="73" y="0"/>
                    </a:lnTo>
                    <a:lnTo>
                      <a:pt x="125" y="142"/>
                    </a:lnTo>
                    <a:lnTo>
                      <a:pt x="96" y="142"/>
                    </a:lnTo>
                    <a:close/>
                    <a:moveTo>
                      <a:pt x="63" y="42"/>
                    </a:moveTo>
                    <a:lnTo>
                      <a:pt x="63" y="42"/>
                    </a:lnTo>
                    <a:lnTo>
                      <a:pt x="45" y="94"/>
                    </a:lnTo>
                    <a:lnTo>
                      <a:pt x="80" y="94"/>
                    </a:lnTo>
                    <a:lnTo>
                      <a:pt x="63" y="4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8" name="Freeform 10"/>
              <p:cNvSpPr>
                <a:spLocks/>
              </p:cNvSpPr>
              <p:nvPr/>
            </p:nvSpPr>
            <p:spPr bwMode="auto">
              <a:xfrm>
                <a:off x="649288" y="-819151"/>
                <a:ext cx="25400" cy="128588"/>
              </a:xfrm>
              <a:custGeom>
                <a:avLst/>
                <a:gdLst>
                  <a:gd name="T0" fmla="*/ 0 w 28"/>
                  <a:gd name="T1" fmla="*/ 0 h 142"/>
                  <a:gd name="T2" fmla="*/ 0 w 28"/>
                  <a:gd name="T3" fmla="*/ 0 h 142"/>
                  <a:gd name="T4" fmla="*/ 28 w 28"/>
                  <a:gd name="T5" fmla="*/ 0 h 142"/>
                  <a:gd name="T6" fmla="*/ 28 w 28"/>
                  <a:gd name="T7" fmla="*/ 142 h 142"/>
                  <a:gd name="T8" fmla="*/ 0 w 28"/>
                  <a:gd name="T9" fmla="*/ 142 h 142"/>
                  <a:gd name="T10" fmla="*/ 0 w 28"/>
                  <a:gd name="T11" fmla="*/ 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142">
                    <a:moveTo>
                      <a:pt x="0" y="0"/>
                    </a:moveTo>
                    <a:lnTo>
                      <a:pt x="0" y="0"/>
                    </a:lnTo>
                    <a:lnTo>
                      <a:pt x="28" y="0"/>
                    </a:lnTo>
                    <a:lnTo>
                      <a:pt x="28" y="142"/>
                    </a:lnTo>
                    <a:lnTo>
                      <a:pt x="0" y="14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9" name="Freeform 11"/>
              <p:cNvSpPr>
                <a:spLocks/>
              </p:cNvSpPr>
              <p:nvPr/>
            </p:nvSpPr>
            <p:spPr bwMode="auto">
              <a:xfrm>
                <a:off x="703263" y="-819151"/>
                <a:ext cx="96838" cy="128588"/>
              </a:xfrm>
              <a:custGeom>
                <a:avLst/>
                <a:gdLst>
                  <a:gd name="T0" fmla="*/ 84 w 109"/>
                  <a:gd name="T1" fmla="*/ 142 h 142"/>
                  <a:gd name="T2" fmla="*/ 84 w 109"/>
                  <a:gd name="T3" fmla="*/ 142 h 142"/>
                  <a:gd name="T4" fmla="*/ 27 w 109"/>
                  <a:gd name="T5" fmla="*/ 55 h 142"/>
                  <a:gd name="T6" fmla="*/ 27 w 109"/>
                  <a:gd name="T7" fmla="*/ 142 h 142"/>
                  <a:gd name="T8" fmla="*/ 0 w 109"/>
                  <a:gd name="T9" fmla="*/ 142 h 142"/>
                  <a:gd name="T10" fmla="*/ 0 w 109"/>
                  <a:gd name="T11" fmla="*/ 0 h 142"/>
                  <a:gd name="T12" fmla="*/ 24 w 109"/>
                  <a:gd name="T13" fmla="*/ 0 h 142"/>
                  <a:gd name="T14" fmla="*/ 81 w 109"/>
                  <a:gd name="T15" fmla="*/ 87 h 142"/>
                  <a:gd name="T16" fmla="*/ 81 w 109"/>
                  <a:gd name="T17" fmla="*/ 0 h 142"/>
                  <a:gd name="T18" fmla="*/ 109 w 109"/>
                  <a:gd name="T19" fmla="*/ 0 h 142"/>
                  <a:gd name="T20" fmla="*/ 109 w 109"/>
                  <a:gd name="T21" fmla="*/ 142 h 142"/>
                  <a:gd name="T22" fmla="*/ 84 w 109"/>
                  <a:gd name="T23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9" h="142">
                    <a:moveTo>
                      <a:pt x="84" y="142"/>
                    </a:moveTo>
                    <a:lnTo>
                      <a:pt x="84" y="142"/>
                    </a:lnTo>
                    <a:lnTo>
                      <a:pt x="27" y="55"/>
                    </a:lnTo>
                    <a:lnTo>
                      <a:pt x="27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24" y="0"/>
                    </a:lnTo>
                    <a:lnTo>
                      <a:pt x="81" y="87"/>
                    </a:lnTo>
                    <a:lnTo>
                      <a:pt x="81" y="0"/>
                    </a:lnTo>
                    <a:lnTo>
                      <a:pt x="109" y="0"/>
                    </a:lnTo>
                    <a:lnTo>
                      <a:pt x="109" y="142"/>
                    </a:lnTo>
                    <a:lnTo>
                      <a:pt x="84" y="14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0" name="Freeform 12"/>
              <p:cNvSpPr>
                <a:spLocks/>
              </p:cNvSpPr>
              <p:nvPr/>
            </p:nvSpPr>
            <p:spPr bwMode="auto">
              <a:xfrm>
                <a:off x="828675" y="-819151"/>
                <a:ext cx="114300" cy="128588"/>
              </a:xfrm>
              <a:custGeom>
                <a:avLst/>
                <a:gdLst>
                  <a:gd name="T0" fmla="*/ 102 w 129"/>
                  <a:gd name="T1" fmla="*/ 142 h 142"/>
                  <a:gd name="T2" fmla="*/ 102 w 129"/>
                  <a:gd name="T3" fmla="*/ 142 h 142"/>
                  <a:gd name="T4" fmla="*/ 102 w 129"/>
                  <a:gd name="T5" fmla="*/ 59 h 142"/>
                  <a:gd name="T6" fmla="*/ 74 w 129"/>
                  <a:gd name="T7" fmla="*/ 113 h 142"/>
                  <a:gd name="T8" fmla="*/ 56 w 129"/>
                  <a:gd name="T9" fmla="*/ 113 h 142"/>
                  <a:gd name="T10" fmla="*/ 28 w 129"/>
                  <a:gd name="T11" fmla="*/ 59 h 142"/>
                  <a:gd name="T12" fmla="*/ 28 w 129"/>
                  <a:gd name="T13" fmla="*/ 142 h 142"/>
                  <a:gd name="T14" fmla="*/ 0 w 129"/>
                  <a:gd name="T15" fmla="*/ 142 h 142"/>
                  <a:gd name="T16" fmla="*/ 0 w 129"/>
                  <a:gd name="T17" fmla="*/ 0 h 142"/>
                  <a:gd name="T18" fmla="*/ 28 w 129"/>
                  <a:gd name="T19" fmla="*/ 0 h 142"/>
                  <a:gd name="T20" fmla="*/ 65 w 129"/>
                  <a:gd name="T21" fmla="*/ 77 h 142"/>
                  <a:gd name="T22" fmla="*/ 102 w 129"/>
                  <a:gd name="T23" fmla="*/ 0 h 142"/>
                  <a:gd name="T24" fmla="*/ 129 w 129"/>
                  <a:gd name="T25" fmla="*/ 0 h 142"/>
                  <a:gd name="T26" fmla="*/ 129 w 129"/>
                  <a:gd name="T27" fmla="*/ 142 h 142"/>
                  <a:gd name="T28" fmla="*/ 102 w 129"/>
                  <a:gd name="T29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9" h="142">
                    <a:moveTo>
                      <a:pt x="102" y="142"/>
                    </a:moveTo>
                    <a:lnTo>
                      <a:pt x="102" y="142"/>
                    </a:lnTo>
                    <a:lnTo>
                      <a:pt x="102" y="59"/>
                    </a:lnTo>
                    <a:lnTo>
                      <a:pt x="74" y="113"/>
                    </a:lnTo>
                    <a:lnTo>
                      <a:pt x="56" y="113"/>
                    </a:lnTo>
                    <a:lnTo>
                      <a:pt x="28" y="59"/>
                    </a:lnTo>
                    <a:lnTo>
                      <a:pt x="28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28" y="0"/>
                    </a:lnTo>
                    <a:lnTo>
                      <a:pt x="65" y="77"/>
                    </a:lnTo>
                    <a:lnTo>
                      <a:pt x="102" y="0"/>
                    </a:lnTo>
                    <a:lnTo>
                      <a:pt x="129" y="0"/>
                    </a:lnTo>
                    <a:lnTo>
                      <a:pt x="129" y="142"/>
                    </a:lnTo>
                    <a:lnTo>
                      <a:pt x="102" y="14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1" name="Freeform 13"/>
              <p:cNvSpPr>
                <a:spLocks/>
              </p:cNvSpPr>
              <p:nvPr/>
            </p:nvSpPr>
            <p:spPr bwMode="auto">
              <a:xfrm>
                <a:off x="971550" y="-819151"/>
                <a:ext cx="84138" cy="128588"/>
              </a:xfrm>
              <a:custGeom>
                <a:avLst/>
                <a:gdLst>
                  <a:gd name="T0" fmla="*/ 0 w 94"/>
                  <a:gd name="T1" fmla="*/ 142 h 142"/>
                  <a:gd name="T2" fmla="*/ 0 w 94"/>
                  <a:gd name="T3" fmla="*/ 142 h 142"/>
                  <a:gd name="T4" fmla="*/ 0 w 94"/>
                  <a:gd name="T5" fmla="*/ 0 h 142"/>
                  <a:gd name="T6" fmla="*/ 94 w 94"/>
                  <a:gd name="T7" fmla="*/ 0 h 142"/>
                  <a:gd name="T8" fmla="*/ 94 w 94"/>
                  <a:gd name="T9" fmla="*/ 25 h 142"/>
                  <a:gd name="T10" fmla="*/ 28 w 94"/>
                  <a:gd name="T11" fmla="*/ 25 h 142"/>
                  <a:gd name="T12" fmla="*/ 28 w 94"/>
                  <a:gd name="T13" fmla="*/ 58 h 142"/>
                  <a:gd name="T14" fmla="*/ 84 w 94"/>
                  <a:gd name="T15" fmla="*/ 58 h 142"/>
                  <a:gd name="T16" fmla="*/ 84 w 94"/>
                  <a:gd name="T17" fmla="*/ 83 h 142"/>
                  <a:gd name="T18" fmla="*/ 28 w 94"/>
                  <a:gd name="T19" fmla="*/ 83 h 142"/>
                  <a:gd name="T20" fmla="*/ 28 w 94"/>
                  <a:gd name="T21" fmla="*/ 118 h 142"/>
                  <a:gd name="T22" fmla="*/ 94 w 94"/>
                  <a:gd name="T23" fmla="*/ 118 h 142"/>
                  <a:gd name="T24" fmla="*/ 94 w 94"/>
                  <a:gd name="T25" fmla="*/ 142 h 142"/>
                  <a:gd name="T26" fmla="*/ 0 w 94"/>
                  <a:gd name="T27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4" h="142">
                    <a:moveTo>
                      <a:pt x="0" y="142"/>
                    </a:moveTo>
                    <a:lnTo>
                      <a:pt x="0" y="142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94" y="25"/>
                    </a:lnTo>
                    <a:lnTo>
                      <a:pt x="28" y="25"/>
                    </a:lnTo>
                    <a:lnTo>
                      <a:pt x="28" y="58"/>
                    </a:lnTo>
                    <a:lnTo>
                      <a:pt x="84" y="58"/>
                    </a:lnTo>
                    <a:lnTo>
                      <a:pt x="84" y="83"/>
                    </a:lnTo>
                    <a:lnTo>
                      <a:pt x="28" y="83"/>
                    </a:lnTo>
                    <a:lnTo>
                      <a:pt x="28" y="118"/>
                    </a:lnTo>
                    <a:lnTo>
                      <a:pt x="94" y="118"/>
                    </a:lnTo>
                    <a:lnTo>
                      <a:pt x="94" y="142"/>
                    </a:lnTo>
                    <a:lnTo>
                      <a:pt x="0" y="14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2" name="Freeform 14"/>
              <p:cNvSpPr>
                <a:spLocks/>
              </p:cNvSpPr>
              <p:nvPr/>
            </p:nvSpPr>
            <p:spPr bwMode="auto">
              <a:xfrm>
                <a:off x="1077913" y="-819151"/>
                <a:ext cx="98425" cy="128588"/>
              </a:xfrm>
              <a:custGeom>
                <a:avLst/>
                <a:gdLst>
                  <a:gd name="T0" fmla="*/ 85 w 109"/>
                  <a:gd name="T1" fmla="*/ 142 h 142"/>
                  <a:gd name="T2" fmla="*/ 85 w 109"/>
                  <a:gd name="T3" fmla="*/ 142 h 142"/>
                  <a:gd name="T4" fmla="*/ 28 w 109"/>
                  <a:gd name="T5" fmla="*/ 55 h 142"/>
                  <a:gd name="T6" fmla="*/ 28 w 109"/>
                  <a:gd name="T7" fmla="*/ 142 h 142"/>
                  <a:gd name="T8" fmla="*/ 0 w 109"/>
                  <a:gd name="T9" fmla="*/ 142 h 142"/>
                  <a:gd name="T10" fmla="*/ 0 w 109"/>
                  <a:gd name="T11" fmla="*/ 0 h 142"/>
                  <a:gd name="T12" fmla="*/ 25 w 109"/>
                  <a:gd name="T13" fmla="*/ 0 h 142"/>
                  <a:gd name="T14" fmla="*/ 82 w 109"/>
                  <a:gd name="T15" fmla="*/ 87 h 142"/>
                  <a:gd name="T16" fmla="*/ 82 w 109"/>
                  <a:gd name="T17" fmla="*/ 0 h 142"/>
                  <a:gd name="T18" fmla="*/ 109 w 109"/>
                  <a:gd name="T19" fmla="*/ 0 h 142"/>
                  <a:gd name="T20" fmla="*/ 109 w 109"/>
                  <a:gd name="T21" fmla="*/ 142 h 142"/>
                  <a:gd name="T22" fmla="*/ 85 w 109"/>
                  <a:gd name="T23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9" h="142">
                    <a:moveTo>
                      <a:pt x="85" y="142"/>
                    </a:moveTo>
                    <a:lnTo>
                      <a:pt x="85" y="142"/>
                    </a:lnTo>
                    <a:lnTo>
                      <a:pt x="28" y="55"/>
                    </a:lnTo>
                    <a:lnTo>
                      <a:pt x="28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25" y="0"/>
                    </a:lnTo>
                    <a:lnTo>
                      <a:pt x="82" y="87"/>
                    </a:lnTo>
                    <a:lnTo>
                      <a:pt x="82" y="0"/>
                    </a:lnTo>
                    <a:lnTo>
                      <a:pt x="109" y="0"/>
                    </a:lnTo>
                    <a:lnTo>
                      <a:pt x="109" y="142"/>
                    </a:lnTo>
                    <a:lnTo>
                      <a:pt x="85" y="14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3" name="Freeform 15"/>
              <p:cNvSpPr>
                <a:spLocks/>
              </p:cNvSpPr>
              <p:nvPr/>
            </p:nvSpPr>
            <p:spPr bwMode="auto">
              <a:xfrm>
                <a:off x="1195388" y="-819151"/>
                <a:ext cx="92075" cy="128588"/>
              </a:xfrm>
              <a:custGeom>
                <a:avLst/>
                <a:gdLst>
                  <a:gd name="T0" fmla="*/ 65 w 102"/>
                  <a:gd name="T1" fmla="*/ 25 h 142"/>
                  <a:gd name="T2" fmla="*/ 65 w 102"/>
                  <a:gd name="T3" fmla="*/ 25 h 142"/>
                  <a:gd name="T4" fmla="*/ 65 w 102"/>
                  <a:gd name="T5" fmla="*/ 142 h 142"/>
                  <a:gd name="T6" fmla="*/ 37 w 102"/>
                  <a:gd name="T7" fmla="*/ 142 h 142"/>
                  <a:gd name="T8" fmla="*/ 37 w 102"/>
                  <a:gd name="T9" fmla="*/ 25 h 142"/>
                  <a:gd name="T10" fmla="*/ 0 w 102"/>
                  <a:gd name="T11" fmla="*/ 25 h 142"/>
                  <a:gd name="T12" fmla="*/ 0 w 102"/>
                  <a:gd name="T13" fmla="*/ 0 h 142"/>
                  <a:gd name="T14" fmla="*/ 102 w 102"/>
                  <a:gd name="T15" fmla="*/ 0 h 142"/>
                  <a:gd name="T16" fmla="*/ 102 w 102"/>
                  <a:gd name="T17" fmla="*/ 25 h 142"/>
                  <a:gd name="T18" fmla="*/ 65 w 102"/>
                  <a:gd name="T19" fmla="*/ 25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42">
                    <a:moveTo>
                      <a:pt x="65" y="25"/>
                    </a:moveTo>
                    <a:lnTo>
                      <a:pt x="65" y="25"/>
                    </a:lnTo>
                    <a:lnTo>
                      <a:pt x="65" y="142"/>
                    </a:lnTo>
                    <a:lnTo>
                      <a:pt x="37" y="142"/>
                    </a:lnTo>
                    <a:lnTo>
                      <a:pt x="37" y="25"/>
                    </a:lnTo>
                    <a:lnTo>
                      <a:pt x="0" y="25"/>
                    </a:lnTo>
                    <a:lnTo>
                      <a:pt x="0" y="0"/>
                    </a:lnTo>
                    <a:lnTo>
                      <a:pt x="102" y="0"/>
                    </a:lnTo>
                    <a:lnTo>
                      <a:pt x="102" y="25"/>
                    </a:lnTo>
                    <a:lnTo>
                      <a:pt x="65" y="2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615" name="FSM"/>
          <p:cNvGrpSpPr/>
          <p:nvPr/>
        </p:nvGrpSpPr>
        <p:grpSpPr>
          <a:xfrm>
            <a:off x="1205684" y="3014431"/>
            <a:ext cx="6248618" cy="1178388"/>
            <a:chOff x="1205684" y="3014431"/>
            <a:chExt cx="6248618" cy="1178388"/>
          </a:xfrm>
        </p:grpSpPr>
        <p:sp>
          <p:nvSpPr>
            <p:cNvPr id="616" name="arrow"/>
            <p:cNvSpPr/>
            <p:nvPr/>
          </p:nvSpPr>
          <p:spPr>
            <a:xfrm>
              <a:off x="6997102" y="3475036"/>
              <a:ext cx="457200" cy="228600"/>
            </a:xfrm>
            <a:prstGeom prst="rightArrow">
              <a:avLst>
                <a:gd name="adj1" fmla="val 53302"/>
                <a:gd name="adj2" fmla="val 50000"/>
              </a:avLst>
            </a:pr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7" name="Rounded Rectangle 616"/>
            <p:cNvSpPr/>
            <p:nvPr/>
          </p:nvSpPr>
          <p:spPr>
            <a:xfrm>
              <a:off x="5982831" y="3360736"/>
              <a:ext cx="1005840" cy="4572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atment plant</a:t>
              </a:r>
            </a:p>
          </p:txBody>
        </p:sp>
        <p:sp>
          <p:nvSpPr>
            <p:cNvPr id="618" name="arrow"/>
            <p:cNvSpPr/>
            <p:nvPr/>
          </p:nvSpPr>
          <p:spPr>
            <a:xfrm flipV="1">
              <a:off x="5229014" y="3367543"/>
              <a:ext cx="731520" cy="228600"/>
            </a:xfrm>
            <a:prstGeom prst="bentArrow">
              <a:avLst>
                <a:gd name="adj1" fmla="val 45168"/>
                <a:gd name="adj2" fmla="val 42801"/>
                <a:gd name="adj3" fmla="val 25000"/>
                <a:gd name="adj4" fmla="val 69928"/>
              </a:avLst>
            </a:pr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9" name="Rounded Rectangle 618"/>
            <p:cNvSpPr/>
            <p:nvPr/>
          </p:nvSpPr>
          <p:spPr>
            <a:xfrm>
              <a:off x="2773916" y="3014431"/>
              <a:ext cx="2690652" cy="358873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acuum truck</a:t>
              </a:r>
            </a:p>
          </p:txBody>
        </p:sp>
        <p:sp>
          <p:nvSpPr>
            <p:cNvPr id="620" name="arrow"/>
            <p:cNvSpPr/>
            <p:nvPr/>
          </p:nvSpPr>
          <p:spPr>
            <a:xfrm>
              <a:off x="5229014" y="3605031"/>
              <a:ext cx="731520" cy="228600"/>
            </a:xfrm>
            <a:prstGeom prst="bentArrow">
              <a:avLst>
                <a:gd name="adj1" fmla="val 45168"/>
                <a:gd name="adj2" fmla="val 42801"/>
                <a:gd name="adj3" fmla="val 25000"/>
                <a:gd name="adj4" fmla="val 69928"/>
              </a:avLst>
            </a:pr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1" name="Rounded Rectangle 620"/>
            <p:cNvSpPr/>
            <p:nvPr/>
          </p:nvSpPr>
          <p:spPr>
            <a:xfrm>
              <a:off x="4458728" y="3789027"/>
              <a:ext cx="1005840" cy="358873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ansfer</a:t>
              </a:r>
            </a:p>
          </p:txBody>
        </p:sp>
        <p:sp>
          <p:nvSpPr>
            <p:cNvPr id="622" name="on-site to overflow arrow"/>
            <p:cNvSpPr/>
            <p:nvPr/>
          </p:nvSpPr>
          <p:spPr>
            <a:xfrm>
              <a:off x="3790398" y="3851559"/>
              <a:ext cx="640080" cy="228600"/>
            </a:xfrm>
            <a:prstGeom prst="rightArrow">
              <a:avLst>
                <a:gd name="adj1" fmla="val 53302"/>
                <a:gd name="adj2" fmla="val 50000"/>
              </a:avLst>
            </a:pr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3" name="Rounded Rectangle 622"/>
            <p:cNvSpPr/>
            <p:nvPr/>
          </p:nvSpPr>
          <p:spPr>
            <a:xfrm>
              <a:off x="2773916" y="3735619"/>
              <a:ext cx="1097280" cy="4572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imary emptying</a:t>
              </a:r>
            </a:p>
          </p:txBody>
        </p:sp>
        <p:sp>
          <p:nvSpPr>
            <p:cNvPr id="624" name="arrow"/>
            <p:cNvSpPr/>
            <p:nvPr/>
          </p:nvSpPr>
          <p:spPr>
            <a:xfrm>
              <a:off x="2022218" y="3086416"/>
              <a:ext cx="731520" cy="228600"/>
            </a:xfrm>
            <a:prstGeom prst="bentArrow">
              <a:avLst>
                <a:gd name="adj1" fmla="val 45168"/>
                <a:gd name="adj2" fmla="val 42801"/>
                <a:gd name="adj3" fmla="val 25000"/>
                <a:gd name="adj4" fmla="val 69928"/>
              </a:avLst>
            </a:pr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5" name="arrow"/>
            <p:cNvSpPr/>
            <p:nvPr/>
          </p:nvSpPr>
          <p:spPr>
            <a:xfrm flipV="1">
              <a:off x="2022218" y="3844067"/>
              <a:ext cx="731520" cy="228600"/>
            </a:xfrm>
            <a:prstGeom prst="bentArrow">
              <a:avLst>
                <a:gd name="adj1" fmla="val 45168"/>
                <a:gd name="adj2" fmla="val 42801"/>
                <a:gd name="adj3" fmla="val 25000"/>
                <a:gd name="adj4" fmla="val 69928"/>
              </a:avLst>
            </a:pr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6" name="Rounded Rectangle 625"/>
            <p:cNvSpPr/>
            <p:nvPr/>
          </p:nvSpPr>
          <p:spPr>
            <a:xfrm>
              <a:off x="1205684" y="3315016"/>
              <a:ext cx="1005840" cy="54864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it or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ptic tank</a:t>
              </a:r>
            </a:p>
          </p:txBody>
        </p:sp>
      </p:grpSp>
      <p:grpSp>
        <p:nvGrpSpPr>
          <p:cNvPr id="627" name="Sewerage"/>
          <p:cNvGrpSpPr/>
          <p:nvPr/>
        </p:nvGrpSpPr>
        <p:grpSpPr>
          <a:xfrm>
            <a:off x="1199487" y="2087942"/>
            <a:ext cx="6254815" cy="457200"/>
            <a:chOff x="1199487" y="2087942"/>
            <a:chExt cx="6254815" cy="457200"/>
          </a:xfrm>
        </p:grpSpPr>
        <p:sp>
          <p:nvSpPr>
            <p:cNvPr id="628" name="arrow"/>
            <p:cNvSpPr/>
            <p:nvPr/>
          </p:nvSpPr>
          <p:spPr>
            <a:xfrm>
              <a:off x="6997102" y="2202242"/>
              <a:ext cx="457200" cy="228600"/>
            </a:xfrm>
            <a:prstGeom prst="rightArrow">
              <a:avLst>
                <a:gd name="adj1" fmla="val 53302"/>
                <a:gd name="adj2" fmla="val 50000"/>
              </a:avLst>
            </a:pr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9" name="Rounded Rectangle 628"/>
            <p:cNvSpPr/>
            <p:nvPr/>
          </p:nvSpPr>
          <p:spPr>
            <a:xfrm>
              <a:off x="5982831" y="2087942"/>
              <a:ext cx="1005840" cy="4572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atment plant</a:t>
              </a:r>
            </a:p>
          </p:txBody>
        </p:sp>
        <p:sp>
          <p:nvSpPr>
            <p:cNvPr id="630" name="arrow"/>
            <p:cNvSpPr/>
            <p:nvPr/>
          </p:nvSpPr>
          <p:spPr>
            <a:xfrm>
              <a:off x="5419392" y="2202242"/>
              <a:ext cx="548640" cy="228600"/>
            </a:xfrm>
            <a:prstGeom prst="rightArrow">
              <a:avLst>
                <a:gd name="adj1" fmla="val 53302"/>
                <a:gd name="adj2" fmla="val 50000"/>
              </a:avLst>
            </a:pr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1" name="Rounded Rectangle 630"/>
            <p:cNvSpPr/>
            <p:nvPr/>
          </p:nvSpPr>
          <p:spPr>
            <a:xfrm>
              <a:off x="2773916" y="2137106"/>
              <a:ext cx="2690652" cy="358873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wer network pumping stations</a:t>
              </a:r>
            </a:p>
          </p:txBody>
        </p:sp>
        <p:sp>
          <p:nvSpPr>
            <p:cNvPr id="632" name="Rounded Rectangle 631"/>
            <p:cNvSpPr/>
            <p:nvPr/>
          </p:nvSpPr>
          <p:spPr>
            <a:xfrm>
              <a:off x="1199487" y="2087942"/>
              <a:ext cx="1005840" cy="4572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lush toilet</a:t>
              </a:r>
            </a:p>
          </p:txBody>
        </p:sp>
        <p:sp>
          <p:nvSpPr>
            <p:cNvPr id="633" name="arrow"/>
            <p:cNvSpPr/>
            <p:nvPr/>
          </p:nvSpPr>
          <p:spPr>
            <a:xfrm>
              <a:off x="2216668" y="2202242"/>
              <a:ext cx="548640" cy="228600"/>
            </a:xfrm>
            <a:prstGeom prst="rightArrow">
              <a:avLst>
                <a:gd name="adj1" fmla="val 53302"/>
                <a:gd name="adj2" fmla="val 50000"/>
              </a:avLst>
            </a:pr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8" name="Rectangle 7"/>
          <p:cNvSpPr/>
          <p:nvPr/>
        </p:nvSpPr>
        <p:spPr>
          <a:xfrm>
            <a:off x="1116243" y="2992325"/>
            <a:ext cx="7691853" cy="14226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4618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8" grpId="1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5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7" name="Content Placeholder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21199648"/>
              </p:ext>
            </p:extLst>
          </p:nvPr>
        </p:nvGraphicFramePr>
        <p:xfrm>
          <a:off x="603218" y="1139410"/>
          <a:ext cx="7171576" cy="29594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19111">
                  <a:extLst>
                    <a:ext uri="{9D8B030D-6E8A-4147-A177-3AD203B41FA5}">
                      <a16:colId xmlns:a16="http://schemas.microsoft.com/office/drawing/2014/main" xmlns="" val="389045133"/>
                    </a:ext>
                  </a:extLst>
                </a:gridCol>
                <a:gridCol w="1551477">
                  <a:extLst>
                    <a:ext uri="{9D8B030D-6E8A-4147-A177-3AD203B41FA5}">
                      <a16:colId xmlns:a16="http://schemas.microsoft.com/office/drawing/2014/main" xmlns="" val="2230717836"/>
                    </a:ext>
                  </a:extLst>
                </a:gridCol>
                <a:gridCol w="2600988">
                  <a:extLst>
                    <a:ext uri="{9D8B030D-6E8A-4147-A177-3AD203B41FA5}">
                      <a16:colId xmlns:a16="http://schemas.microsoft.com/office/drawing/2014/main" xmlns="" val="1611938481"/>
                    </a:ext>
                  </a:extLst>
                </a:gridCol>
              </a:tblGrid>
              <a:tr h="498367">
                <a:tc>
                  <a:txBody>
                    <a:bodyPr/>
                    <a:lstStyle/>
                    <a:p>
                      <a:r>
                        <a:rPr lang="en-IN" sz="1600" dirty="0">
                          <a:solidFill>
                            <a:schemeClr val="bg1"/>
                          </a:solidFill>
                          <a:latin typeface="+mj-lt"/>
                        </a:rPr>
                        <a:t>Description </a:t>
                      </a:r>
                    </a:p>
                  </a:txBody>
                  <a:tcPr marL="51435" marR="51435" marT="25718" marB="25718">
                    <a:lnL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2A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chemeClr val="bg1"/>
                          </a:solidFill>
                          <a:latin typeface="+mj-lt"/>
                        </a:rPr>
                        <a:t>Total  Budget </a:t>
                      </a:r>
                    </a:p>
                    <a:p>
                      <a:pPr algn="ctr"/>
                      <a:r>
                        <a:rPr lang="en-IN" sz="1600" dirty="0">
                          <a:solidFill>
                            <a:schemeClr val="bg1"/>
                          </a:solidFill>
                          <a:latin typeface="+mj-lt"/>
                        </a:rPr>
                        <a:t>USD/Billion</a:t>
                      </a:r>
                    </a:p>
                  </a:txBody>
                  <a:tcPr marL="51435" marR="51435" marT="25718" marB="25718">
                    <a:lnL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2A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dirty="0">
                          <a:solidFill>
                            <a:schemeClr val="bg1"/>
                          </a:solidFill>
                          <a:latin typeface="+mj-lt"/>
                        </a:rPr>
                        <a:t>Budget </a:t>
                      </a:r>
                    </a:p>
                    <a:p>
                      <a:pPr algn="ctr"/>
                      <a:r>
                        <a:rPr lang="en-IN" sz="1600" dirty="0">
                          <a:solidFill>
                            <a:schemeClr val="bg1"/>
                          </a:solidFill>
                          <a:latin typeface="+mj-lt"/>
                        </a:rPr>
                        <a:t>USD/capita</a:t>
                      </a:r>
                    </a:p>
                  </a:txBody>
                  <a:tcPr marL="51435" marR="51435" marT="25718" marB="25718">
                    <a:lnL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2A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88462871"/>
                  </a:ext>
                </a:extLst>
              </a:tr>
              <a:tr h="312997"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AMRUT</a:t>
                      </a:r>
                    </a:p>
                  </a:txBody>
                  <a:tcPr marL="135000" marR="7144" marT="7144" marB="0" anchor="ctr">
                    <a:lnL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63</a:t>
                      </a:r>
                    </a:p>
                  </a:txBody>
                  <a:tcPr marL="7144" marR="81000" marT="7144" marB="0" anchor="ctr">
                    <a:lnL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15</a:t>
                      </a:r>
                    </a:p>
                  </a:txBody>
                  <a:tcPr marL="51435" marR="81000" marT="25718" marB="25718" anchor="ctr">
                    <a:lnL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70184060"/>
                  </a:ext>
                </a:extLst>
              </a:tr>
              <a:tr h="302013"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tate and City</a:t>
                      </a:r>
                    </a:p>
                  </a:txBody>
                  <a:tcPr marL="135000" marR="7144" marT="7144" marB="0" anchor="ctr">
                    <a:lnL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20</a:t>
                      </a:r>
                    </a:p>
                  </a:txBody>
                  <a:tcPr marL="7144" marR="81000" marT="7144" marB="0" anchor="ctr">
                    <a:lnL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15</a:t>
                      </a:r>
                    </a:p>
                  </a:txBody>
                  <a:tcPr marL="51435" marR="81000" marT="25718" marB="25718" anchor="ctr">
                    <a:lnL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73567710"/>
                  </a:ext>
                </a:extLst>
              </a:tr>
              <a:tr h="302013"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mart City </a:t>
                      </a:r>
                    </a:p>
                  </a:txBody>
                  <a:tcPr marL="135000" marR="7144" marT="7144" marB="0" anchor="ctr">
                    <a:lnL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50</a:t>
                      </a:r>
                    </a:p>
                  </a:txBody>
                  <a:tcPr marL="7144" marR="81000" marT="7144" marB="0" anchor="ctr">
                    <a:lnL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10</a:t>
                      </a:r>
                    </a:p>
                  </a:txBody>
                  <a:tcPr marL="51435" marR="81000" marT="25718" marB="25718" anchor="ctr">
                    <a:lnL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26095137"/>
                  </a:ext>
                </a:extLst>
              </a:tr>
              <a:tr h="302013"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ational River Conservation </a:t>
                      </a:r>
                    </a:p>
                  </a:txBody>
                  <a:tcPr marL="135000" marR="7144" marT="7144" marB="0" anchor="ctr">
                    <a:lnL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6</a:t>
                      </a:r>
                    </a:p>
                  </a:txBody>
                  <a:tcPr marL="7144" marR="81000" marT="7144" marB="0" anchor="ctr">
                    <a:lnL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1</a:t>
                      </a:r>
                    </a:p>
                  </a:txBody>
                  <a:tcPr marL="51435" marR="81000" marT="25718" marB="25718" anchor="ctr">
                    <a:lnL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0462732"/>
                  </a:ext>
                </a:extLst>
              </a:tr>
              <a:tr h="302013"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SPM </a:t>
                      </a:r>
                      <a:r>
                        <a:rPr lang="en-IN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Rurban</a:t>
                      </a:r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Mission</a:t>
                      </a:r>
                    </a:p>
                  </a:txBody>
                  <a:tcPr marL="135000" marR="7144" marT="7144" marB="0" anchor="ctr">
                    <a:lnL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4</a:t>
                      </a:r>
                    </a:p>
                  </a:txBody>
                  <a:tcPr marL="7144" marR="81000" marT="7144" marB="0" anchor="ctr">
                    <a:lnL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01</a:t>
                      </a:r>
                    </a:p>
                  </a:txBody>
                  <a:tcPr marL="51435" marR="81000" marT="25718" marB="25718" anchor="ctr">
                    <a:lnL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9687315"/>
                  </a:ext>
                </a:extLst>
              </a:tr>
              <a:tr h="302013"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Namami</a:t>
                      </a:r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en-IN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Gange</a:t>
                      </a:r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Mission </a:t>
                      </a:r>
                    </a:p>
                  </a:txBody>
                  <a:tcPr marL="135000" marR="7144" marT="7144" marB="0" anchor="ctr">
                    <a:lnL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35</a:t>
                      </a:r>
                    </a:p>
                  </a:txBody>
                  <a:tcPr marL="7144" marR="81000" marT="7144" marB="0" anchor="ctr">
                    <a:lnL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0.14</a:t>
                      </a:r>
                    </a:p>
                  </a:txBody>
                  <a:tcPr marL="51435" marR="81000" marT="25718" marB="25718" anchor="ctr">
                    <a:lnL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21965364"/>
                  </a:ext>
                </a:extLst>
              </a:tr>
              <a:tr h="302013"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External Assistance</a:t>
                      </a:r>
                    </a:p>
                  </a:txBody>
                  <a:tcPr marL="135000" marR="7144" marT="7144" marB="0" anchor="ctr">
                    <a:lnL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.38</a:t>
                      </a:r>
                    </a:p>
                  </a:txBody>
                  <a:tcPr marL="7144" marR="81000" marT="7144" marB="0" anchor="ctr">
                    <a:lnL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457200" rtl="0" eaLnBrk="1" fontAlgn="b" latinLnBrk="0" hangingPunct="1"/>
                      <a:r>
                        <a:rPr lang="en-IN" sz="16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0.13</a:t>
                      </a:r>
                    </a:p>
                  </a:txBody>
                  <a:tcPr marL="51435" marR="81000" marT="25718" marB="25718" anchor="ctr">
                    <a:lnL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33336636"/>
                  </a:ext>
                </a:extLst>
              </a:tr>
              <a:tr h="272957">
                <a:tc>
                  <a:txBody>
                    <a:bodyPr/>
                    <a:lstStyle/>
                    <a:p>
                      <a:pPr algn="l" fontAlgn="b"/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Total </a:t>
                      </a:r>
                    </a:p>
                  </a:txBody>
                  <a:tcPr marL="135000" marR="7144" marT="7144" marB="0" anchor="ctr">
                    <a:lnL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5.16</a:t>
                      </a:r>
                    </a:p>
                  </a:txBody>
                  <a:tcPr marL="7144" marR="7144" marT="7144" marB="0" anchor="ctr">
                    <a:lnL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IN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+mj-lt"/>
                        </a:rPr>
                        <a:t>0.69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02A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96632969"/>
                  </a:ext>
                </a:extLst>
              </a:tr>
            </a:tbl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483531" y="490527"/>
            <a:ext cx="7089891" cy="1845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300"/>
              </a:lnSpc>
              <a:spcBef>
                <a:spcPct val="0"/>
              </a:spcBef>
              <a:buNone/>
              <a:defRPr sz="2300" kern="1200" cap="all" baseline="0">
                <a:solidFill>
                  <a:schemeClr val="accent6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sz="2200" dirty="0">
                <a:solidFill>
                  <a:srgbClr val="C00000"/>
                </a:solidFill>
              </a:rPr>
              <a:t>Budget for Wastewater in 2016-17- India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03218" y="4380502"/>
            <a:ext cx="5998655" cy="239372"/>
          </a:xfrm>
          <a:prstGeom prst="rect">
            <a:avLst/>
          </a:prstGeom>
          <a:solidFill>
            <a:srgbClr val="B02A00"/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16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urrent Per-capita budget for wastewater is less than 1 $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77671" y="4883916"/>
            <a:ext cx="274932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: BORDA, 2017</a:t>
            </a:r>
          </a:p>
        </p:txBody>
      </p:sp>
    </p:spTree>
    <p:extLst>
      <p:ext uri="{BB962C8B-B14F-4D97-AF65-F5344CB8AC3E}">
        <p14:creationId xmlns:p14="http://schemas.microsoft.com/office/powerpoint/2010/main" val="4278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6</a:t>
            </a:fld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7545977"/>
              </p:ext>
            </p:extLst>
          </p:nvPr>
        </p:nvGraphicFramePr>
        <p:xfrm>
          <a:off x="483530" y="1127738"/>
          <a:ext cx="7492336" cy="89734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752287">
                  <a:extLst>
                    <a:ext uri="{9D8B030D-6E8A-4147-A177-3AD203B41FA5}">
                      <a16:colId xmlns:a16="http://schemas.microsoft.com/office/drawing/2014/main" xmlns="" val="1514924313"/>
                    </a:ext>
                  </a:extLst>
                </a:gridCol>
                <a:gridCol w="2394907">
                  <a:extLst>
                    <a:ext uri="{9D8B030D-6E8A-4147-A177-3AD203B41FA5}">
                      <a16:colId xmlns:a16="http://schemas.microsoft.com/office/drawing/2014/main" xmlns="" val="1981716163"/>
                    </a:ext>
                  </a:extLst>
                </a:gridCol>
                <a:gridCol w="2345142">
                  <a:extLst>
                    <a:ext uri="{9D8B030D-6E8A-4147-A177-3AD203B41FA5}">
                      <a16:colId xmlns:a16="http://schemas.microsoft.com/office/drawing/2014/main" xmlns="" val="312215124"/>
                    </a:ext>
                  </a:extLst>
                </a:gridCol>
              </a:tblGrid>
              <a:tr h="26375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+mj-lt"/>
                        </a:rPr>
                        <a:t>Options </a:t>
                      </a:r>
                      <a:endParaRPr lang="en-IN" sz="16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2A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>
                          <a:effectLst/>
                          <a:latin typeface="+mj-lt"/>
                        </a:rPr>
                        <a:t>Capex / capita (</a:t>
                      </a:r>
                      <a:r>
                        <a:rPr lang="en-IN" sz="1600" dirty="0">
                          <a:effectLst/>
                          <a:latin typeface="+mj-lt"/>
                        </a:rPr>
                        <a:t>USD)</a:t>
                      </a:r>
                      <a:endParaRPr lang="en-IN" sz="16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2A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 err="1">
                          <a:effectLst/>
                          <a:latin typeface="+mj-lt"/>
                        </a:rPr>
                        <a:t>Opex</a:t>
                      </a:r>
                      <a:r>
                        <a:rPr lang="en-GB" sz="1600" dirty="0">
                          <a:effectLst/>
                          <a:latin typeface="+mj-lt"/>
                        </a:rPr>
                        <a:t> / capita (</a:t>
                      </a:r>
                      <a:r>
                        <a:rPr lang="en-IN" sz="1600" dirty="0">
                          <a:effectLst/>
                          <a:latin typeface="+mj-lt"/>
                        </a:rPr>
                        <a:t>USD)</a:t>
                      </a:r>
                      <a:endParaRPr lang="en-IN" sz="1600" dirty="0"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02A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12046300"/>
                  </a:ext>
                </a:extLst>
              </a:tr>
              <a:tr h="31679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ewerage system </a:t>
                      </a:r>
                      <a:endParaRPr lang="en-IN" sz="160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ctr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IN" sz="1600" dirty="0">
                          <a:solidFill>
                            <a:srgbClr val="C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8 </a:t>
                      </a:r>
                      <a:r>
                        <a:rPr lang="en-IN" sz="1600" kern="1200" dirty="0">
                          <a:solidFill>
                            <a:srgbClr val="C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– </a:t>
                      </a:r>
                      <a:r>
                        <a:rPr lang="en-IN" sz="1600" dirty="0">
                          <a:solidFill>
                            <a:srgbClr val="C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50</a:t>
                      </a:r>
                    </a:p>
                  </a:txBody>
                  <a:tcPr marL="38576" marR="38576" marT="0" marB="0" anchor="ctr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en-IN" sz="16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5 </a:t>
                      </a:r>
                      <a:r>
                        <a:rPr lang="en-IN" sz="16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–</a:t>
                      </a:r>
                      <a:r>
                        <a:rPr lang="en-IN" sz="1600" kern="1200" dirty="0">
                          <a:solidFill>
                            <a:schemeClr val="dk1"/>
                          </a:solidFill>
                          <a:effectLst/>
                          <a:latin typeface="+mj-lt"/>
                          <a:cs typeface="Times New Roman" panose="02020603050405020304" pitchFamily="18" charset="0"/>
                        </a:rPr>
                        <a:t> 56</a:t>
                      </a:r>
                    </a:p>
                  </a:txBody>
                  <a:tcPr marL="38576" marR="38576" marT="0" marB="0" anchor="ctr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459529296"/>
                  </a:ext>
                </a:extLst>
              </a:tr>
              <a:tr h="31679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6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FSM</a:t>
                      </a:r>
                      <a:endParaRPr lang="en-IN" sz="1600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76" marR="38576" marT="0" marB="0" anchor="ctr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spcAft>
                          <a:spcPts val="0"/>
                        </a:spcAft>
                      </a:pPr>
                      <a:r>
                        <a:rPr lang="en-IN" sz="1600" kern="1200" dirty="0">
                          <a:solidFill>
                            <a:srgbClr val="C00000"/>
                          </a:solidFill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 – 30</a:t>
                      </a:r>
                    </a:p>
                  </a:txBody>
                  <a:tcPr marL="38576" marR="38576" marT="0" marB="0" anchor="ctr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IN" sz="1600" dirty="0">
                          <a:effectLst/>
                          <a:latin typeface="+mj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– 4</a:t>
                      </a:r>
                    </a:p>
                  </a:txBody>
                  <a:tcPr marL="38576" marR="38576" marT="0" marB="0" anchor="ctr">
                    <a:lnL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3167730"/>
                  </a:ext>
                </a:extLst>
              </a:tr>
            </a:tbl>
          </a:graphicData>
        </a:graphic>
      </p:graphicFrame>
      <p:sp>
        <p:nvSpPr>
          <p:cNvPr id="8" name="Title 1"/>
          <p:cNvSpPr txBox="1">
            <a:spLocks/>
          </p:cNvSpPr>
          <p:nvPr/>
        </p:nvSpPr>
        <p:spPr>
          <a:xfrm>
            <a:off x="382994" y="324069"/>
            <a:ext cx="6066485" cy="509953"/>
          </a:xfrm>
          <a:prstGeom prst="rect">
            <a:avLst/>
          </a:prstGeom>
        </p:spPr>
        <p:txBody>
          <a:bodyPr vert="horz" lIns="68580" tIns="34290" rIns="68580" bIns="34290" rtlCol="0" anchor="b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000" b="1" i="0" kern="1200" spc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4400">
              <a:lnSpc>
                <a:spcPts val="2300"/>
              </a:lnSpc>
              <a:defRPr/>
            </a:pPr>
            <a:r>
              <a:rPr lang="en-US" sz="2200" cap="all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Cost of solutions - Capex &amp; OPEX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62862" y="4867530"/>
            <a:ext cx="274932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: BORDA, 2017</a:t>
            </a:r>
          </a:p>
        </p:txBody>
      </p:sp>
      <p:sp>
        <p:nvSpPr>
          <p:cNvPr id="10" name="Oval 9"/>
          <p:cNvSpPr/>
          <p:nvPr/>
        </p:nvSpPr>
        <p:spPr>
          <a:xfrm>
            <a:off x="4715626" y="3356720"/>
            <a:ext cx="877824" cy="879846"/>
          </a:xfrm>
          <a:prstGeom prst="ellipse">
            <a:avLst/>
          </a:prstGeom>
          <a:solidFill>
            <a:srgbClr val="B02A00"/>
          </a:solidFill>
          <a:ln w="0"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400" b="1" dirty="0">
                <a:solidFill>
                  <a:schemeClr val="bg1"/>
                </a:solidFill>
              </a:rPr>
              <a:t>$ 0.69</a:t>
            </a:r>
          </a:p>
        </p:txBody>
      </p:sp>
      <p:sp>
        <p:nvSpPr>
          <p:cNvPr id="11" name="Oval 10"/>
          <p:cNvSpPr/>
          <p:nvPr/>
        </p:nvSpPr>
        <p:spPr>
          <a:xfrm>
            <a:off x="1694432" y="2749282"/>
            <a:ext cx="2093976" cy="2097738"/>
          </a:xfrm>
          <a:prstGeom prst="ellipse">
            <a:avLst/>
          </a:prstGeom>
          <a:solidFill>
            <a:srgbClr val="00A0CD"/>
          </a:solidFill>
          <a:ln w="0"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700" b="1" dirty="0">
                <a:solidFill>
                  <a:schemeClr val="bg1"/>
                </a:solidFill>
              </a:rPr>
              <a:t>$ 250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653964" y="3611977"/>
            <a:ext cx="31309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b="1" dirty="0">
                <a:solidFill>
                  <a:srgbClr val="C00000"/>
                </a:solidFill>
              </a:rPr>
              <a:t>Budget per year/Per Capita 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-57227" y="3395016"/>
            <a:ext cx="16947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1600" b="1" dirty="0">
                <a:solidFill>
                  <a:srgbClr val="00A0CD"/>
                </a:solidFill>
              </a:rPr>
              <a:t>Average CAPEX of UDG per capita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756184" y="2173846"/>
            <a:ext cx="4932662" cy="289907"/>
          </a:xfrm>
          <a:prstGeom prst="rect">
            <a:avLst/>
          </a:prstGeom>
          <a:solidFill>
            <a:srgbClr val="B02A00"/>
          </a:solidFill>
        </p:spPr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algn="ctr">
              <a:defRPr sz="16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IN" dirty="0"/>
              <a:t>Average CAPEX of UGD per capita = $250</a:t>
            </a:r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4203368" y="2647451"/>
            <a:ext cx="23937" cy="209210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6880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 rot="16200000">
            <a:off x="705388" y="2803882"/>
            <a:ext cx="641039" cy="270000"/>
          </a:xfrm>
          <a:prstGeom prst="rect">
            <a:avLst/>
          </a:prstGeom>
          <a:solidFill>
            <a:schemeClr val="bg1"/>
          </a:solidFill>
          <a:ln w="0"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en-IN" sz="1650" b="1" dirty="0">
                <a:solidFill>
                  <a:srgbClr val="C00000"/>
                </a:solidFill>
                <a:latin typeface="Arial"/>
              </a:rPr>
              <a:t>50%</a:t>
            </a:r>
          </a:p>
        </p:txBody>
      </p:sp>
      <p:sp>
        <p:nvSpPr>
          <p:cNvPr id="8" name="Rectangle 7"/>
          <p:cNvSpPr/>
          <p:nvPr/>
        </p:nvSpPr>
        <p:spPr>
          <a:xfrm rot="16200000">
            <a:off x="539501" y="1014806"/>
            <a:ext cx="800377" cy="270000"/>
          </a:xfrm>
          <a:prstGeom prst="rect">
            <a:avLst/>
          </a:prstGeom>
          <a:solidFill>
            <a:schemeClr val="bg1"/>
          </a:solidFill>
          <a:ln w="0"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en-IN" sz="1650" b="1" dirty="0">
                <a:solidFill>
                  <a:srgbClr val="C00000"/>
                </a:solidFill>
                <a:latin typeface="Arial"/>
              </a:rPr>
              <a:t>100%</a:t>
            </a:r>
          </a:p>
        </p:txBody>
      </p:sp>
      <p:sp>
        <p:nvSpPr>
          <p:cNvPr id="9" name="Rectangle 8"/>
          <p:cNvSpPr/>
          <p:nvPr/>
        </p:nvSpPr>
        <p:spPr>
          <a:xfrm>
            <a:off x="1140966" y="4714739"/>
            <a:ext cx="2535668" cy="322622"/>
          </a:xfrm>
          <a:prstGeom prst="rect">
            <a:avLst/>
          </a:prstGeom>
          <a:solidFill>
            <a:schemeClr val="bg1"/>
          </a:solidFill>
          <a:ln w="0"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en-IN" sz="1650" b="1" dirty="0">
                <a:solidFill>
                  <a:srgbClr val="C00000"/>
                </a:solidFill>
                <a:latin typeface="Arial"/>
              </a:rPr>
              <a:t>2017</a:t>
            </a:r>
          </a:p>
        </p:txBody>
      </p:sp>
      <p:sp>
        <p:nvSpPr>
          <p:cNvPr id="10" name="Rectangle 9"/>
          <p:cNvSpPr/>
          <p:nvPr/>
        </p:nvSpPr>
        <p:spPr>
          <a:xfrm>
            <a:off x="3710472" y="4585726"/>
            <a:ext cx="2264406" cy="557774"/>
          </a:xfrm>
          <a:prstGeom prst="rect">
            <a:avLst/>
          </a:prstGeom>
          <a:solidFill>
            <a:schemeClr val="bg1"/>
          </a:solidFill>
          <a:ln w="0"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en-IN" sz="1650" b="1" dirty="0">
                <a:solidFill>
                  <a:srgbClr val="C00000"/>
                </a:solidFill>
                <a:latin typeface="Arial"/>
              </a:rPr>
              <a:t>2026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896326" y="1534455"/>
            <a:ext cx="459000" cy="1728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en-IN" sz="1500" dirty="0">
              <a:solidFill>
                <a:prstClr val="white"/>
              </a:solidFill>
              <a:latin typeface="Arial"/>
            </a:endParaRPr>
          </a:p>
          <a:p>
            <a:pPr algn="ctr" defTabSz="342900"/>
            <a:endParaRPr lang="en-IN" sz="1500" dirty="0">
              <a:solidFill>
                <a:prstClr val="white"/>
              </a:solidFill>
              <a:latin typeface="Arial"/>
            </a:endParaRPr>
          </a:p>
          <a:p>
            <a:pPr algn="ctr" defTabSz="342900"/>
            <a:endParaRPr lang="en-IN" sz="1500" dirty="0">
              <a:solidFill>
                <a:prstClr val="white"/>
              </a:solidFill>
              <a:latin typeface="Arial"/>
            </a:endParaRPr>
          </a:p>
          <a:p>
            <a:pPr algn="ctr" defTabSz="342900"/>
            <a:endParaRPr lang="en-IN" sz="1500" dirty="0">
              <a:solidFill>
                <a:prstClr val="white"/>
              </a:solidFill>
              <a:latin typeface="Arial"/>
            </a:endParaRPr>
          </a:p>
          <a:p>
            <a:pPr algn="ctr" defTabSz="342900"/>
            <a:r>
              <a:rPr lang="en-IN" sz="1500" dirty="0">
                <a:solidFill>
                  <a:prstClr val="white"/>
                </a:solidFill>
                <a:latin typeface="Arial"/>
              </a:rPr>
              <a:t>57%</a:t>
            </a:r>
          </a:p>
        </p:txBody>
      </p:sp>
      <p:sp>
        <p:nvSpPr>
          <p:cNvPr id="12" name="Rectangle 11"/>
          <p:cNvSpPr/>
          <p:nvPr/>
        </p:nvSpPr>
        <p:spPr>
          <a:xfrm rot="10800000" flipV="1">
            <a:off x="4198740" y="3001997"/>
            <a:ext cx="459000" cy="474634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en-IN" sz="1500" dirty="0">
                <a:solidFill>
                  <a:prstClr val="white"/>
                </a:solidFill>
                <a:latin typeface="Arial"/>
              </a:rPr>
              <a:t>6%</a:t>
            </a:r>
          </a:p>
        </p:txBody>
      </p:sp>
      <p:sp>
        <p:nvSpPr>
          <p:cNvPr id="13" name="Rectangle 12"/>
          <p:cNvSpPr/>
          <p:nvPr/>
        </p:nvSpPr>
        <p:spPr>
          <a:xfrm rot="10800000" flipV="1">
            <a:off x="2117832" y="3330156"/>
            <a:ext cx="458392" cy="4115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en-IN" sz="1500" dirty="0">
                <a:solidFill>
                  <a:prstClr val="white"/>
                </a:solidFill>
                <a:latin typeface="Arial"/>
              </a:rPr>
              <a:t>0%</a:t>
            </a:r>
          </a:p>
        </p:txBody>
      </p:sp>
      <p:sp>
        <p:nvSpPr>
          <p:cNvPr id="14" name="Title 3"/>
          <p:cNvSpPr>
            <a:spLocks noGrp="1"/>
          </p:cNvSpPr>
          <p:nvPr>
            <p:ph type="title"/>
          </p:nvPr>
        </p:nvSpPr>
        <p:spPr>
          <a:xfrm>
            <a:off x="349878" y="395077"/>
            <a:ext cx="5625000" cy="494562"/>
          </a:xfrm>
        </p:spPr>
        <p:txBody>
          <a:bodyPr vert="horz" lIns="68580" tIns="34290" rIns="68580" bIns="34290" rtlCol="0" anchor="ctr" anchorCtr="0">
            <a:noAutofit/>
          </a:bodyPr>
          <a:lstStyle/>
          <a:p>
            <a:pPr>
              <a:defRPr/>
            </a:pPr>
            <a:r>
              <a:rPr lang="en-IN" sz="2200" b="1" dirty="0">
                <a:solidFill>
                  <a:srgbClr val="C00000"/>
                </a:solidFill>
              </a:rPr>
              <a:t>Comparing the Scenarios  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115315" y="3750313"/>
            <a:ext cx="459000" cy="810000"/>
          </a:xfrm>
          <a:prstGeom prst="rect">
            <a:avLst/>
          </a:prstGeom>
          <a:solidFill>
            <a:srgbClr val="00A0C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r>
              <a:rPr lang="en-IN" sz="1500" dirty="0">
                <a:solidFill>
                  <a:prstClr val="white"/>
                </a:solidFill>
                <a:latin typeface="Arial"/>
              </a:rPr>
              <a:t>30%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896421" y="3269320"/>
            <a:ext cx="459000" cy="1279800"/>
          </a:xfrm>
          <a:prstGeom prst="rect">
            <a:avLst/>
          </a:prstGeom>
          <a:solidFill>
            <a:srgbClr val="00A0CD"/>
          </a:solidFill>
          <a:ln>
            <a:solidFill>
              <a:srgbClr val="00A0C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en-IN" sz="1500" dirty="0">
              <a:solidFill>
                <a:prstClr val="white"/>
              </a:solidFill>
              <a:latin typeface="Arial"/>
            </a:endParaRPr>
          </a:p>
          <a:p>
            <a:pPr algn="ctr" defTabSz="342900"/>
            <a:endParaRPr lang="en-IN" sz="1500" dirty="0">
              <a:solidFill>
                <a:prstClr val="white"/>
              </a:solidFill>
              <a:latin typeface="Arial"/>
            </a:endParaRPr>
          </a:p>
          <a:p>
            <a:pPr algn="ctr" defTabSz="342900"/>
            <a:r>
              <a:rPr lang="en-IN" sz="1500" dirty="0">
                <a:solidFill>
                  <a:prstClr val="white"/>
                </a:solidFill>
                <a:latin typeface="Arial"/>
              </a:rPr>
              <a:t>42%</a:t>
            </a:r>
          </a:p>
        </p:txBody>
      </p:sp>
      <p:sp>
        <p:nvSpPr>
          <p:cNvPr id="17" name="Rectangle 16"/>
          <p:cNvSpPr/>
          <p:nvPr/>
        </p:nvSpPr>
        <p:spPr>
          <a:xfrm>
            <a:off x="4194594" y="3454968"/>
            <a:ext cx="459000" cy="1104545"/>
          </a:xfrm>
          <a:prstGeom prst="rect">
            <a:avLst/>
          </a:prstGeom>
          <a:solidFill>
            <a:srgbClr val="00A0CD"/>
          </a:solidFill>
          <a:ln>
            <a:solidFill>
              <a:srgbClr val="00A0CD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en-IN" sz="1500" dirty="0">
              <a:solidFill>
                <a:prstClr val="white"/>
              </a:solidFill>
              <a:latin typeface="Arial"/>
            </a:endParaRPr>
          </a:p>
          <a:p>
            <a:pPr algn="ctr" defTabSz="342900"/>
            <a:r>
              <a:rPr lang="en-IN" sz="1500" dirty="0">
                <a:solidFill>
                  <a:prstClr val="white"/>
                </a:solidFill>
                <a:latin typeface="Arial"/>
              </a:rPr>
              <a:t>45%</a:t>
            </a:r>
          </a:p>
        </p:txBody>
      </p:sp>
      <p:cxnSp>
        <p:nvCxnSpPr>
          <p:cNvPr id="18" name="Straight Connector 17"/>
          <p:cNvCxnSpPr>
            <a:cxnSpLocks/>
          </p:cNvCxnSpPr>
          <p:nvPr/>
        </p:nvCxnSpPr>
        <p:spPr>
          <a:xfrm>
            <a:off x="1144480" y="4684871"/>
            <a:ext cx="6073891" cy="3865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9" name="Oval 18"/>
          <p:cNvSpPr/>
          <p:nvPr/>
        </p:nvSpPr>
        <p:spPr>
          <a:xfrm>
            <a:off x="2352754" y="4637686"/>
            <a:ext cx="135000" cy="135000"/>
          </a:xfrm>
          <a:prstGeom prst="ellipse">
            <a:avLst/>
          </a:prstGeom>
          <a:solidFill>
            <a:srgbClr val="C00000"/>
          </a:solidFill>
          <a:ln w="0"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en-IN" sz="1350">
              <a:solidFill>
                <a:prstClr val="white"/>
              </a:solidFill>
              <a:latin typeface="Arial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4742154" y="4627190"/>
            <a:ext cx="135000" cy="135000"/>
          </a:xfrm>
          <a:prstGeom prst="ellipse">
            <a:avLst/>
          </a:prstGeom>
          <a:solidFill>
            <a:srgbClr val="C00000"/>
          </a:solidFill>
          <a:ln w="0"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en-IN" sz="1350">
              <a:solidFill>
                <a:prstClr val="white"/>
              </a:solidFill>
              <a:latin typeface="Arial"/>
            </a:endParaRPr>
          </a:p>
        </p:txBody>
      </p:sp>
      <p:cxnSp>
        <p:nvCxnSpPr>
          <p:cNvPr id="21" name="Straight Connector 20"/>
          <p:cNvCxnSpPr>
            <a:cxnSpLocks/>
          </p:cNvCxnSpPr>
          <p:nvPr/>
        </p:nvCxnSpPr>
        <p:spPr>
          <a:xfrm flipV="1">
            <a:off x="1163308" y="1063398"/>
            <a:ext cx="13975" cy="3640831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3" name="Oval 22"/>
          <p:cNvSpPr/>
          <p:nvPr/>
        </p:nvSpPr>
        <p:spPr>
          <a:xfrm>
            <a:off x="1121497" y="2885344"/>
            <a:ext cx="111570" cy="135000"/>
          </a:xfrm>
          <a:prstGeom prst="ellipse">
            <a:avLst/>
          </a:prstGeom>
          <a:solidFill>
            <a:srgbClr val="C00000"/>
          </a:solidFill>
          <a:ln w="0"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en-IN" sz="1350">
              <a:solidFill>
                <a:prstClr val="white"/>
              </a:solidFill>
              <a:latin typeface="Arial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086454" y="3012489"/>
            <a:ext cx="606256" cy="3462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342900"/>
            <a:r>
              <a:rPr lang="en-IN" sz="1650" b="1" dirty="0">
                <a:solidFill>
                  <a:srgbClr val="00A0CD"/>
                </a:solidFill>
                <a:latin typeface="Arial"/>
              </a:rPr>
              <a:t>30%</a:t>
            </a:r>
          </a:p>
        </p:txBody>
      </p:sp>
      <p:sp>
        <p:nvSpPr>
          <p:cNvPr id="25" name="Rectangle 24"/>
          <p:cNvSpPr/>
          <p:nvPr/>
        </p:nvSpPr>
        <p:spPr>
          <a:xfrm>
            <a:off x="4143779" y="2701528"/>
            <a:ext cx="606256" cy="3462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342900"/>
            <a:r>
              <a:rPr lang="en-IN" sz="1650" b="1" dirty="0">
                <a:solidFill>
                  <a:srgbClr val="00A0CD"/>
                </a:solidFill>
                <a:latin typeface="Arial"/>
              </a:rPr>
              <a:t>51%</a:t>
            </a:r>
          </a:p>
        </p:txBody>
      </p:sp>
      <p:sp>
        <p:nvSpPr>
          <p:cNvPr id="26" name="Rectangle 25"/>
          <p:cNvSpPr/>
          <p:nvPr/>
        </p:nvSpPr>
        <p:spPr>
          <a:xfrm>
            <a:off x="4827547" y="1240531"/>
            <a:ext cx="606256" cy="3462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342900"/>
            <a:r>
              <a:rPr lang="en-IN" sz="1650" b="1" dirty="0">
                <a:solidFill>
                  <a:srgbClr val="00A0CD"/>
                </a:solidFill>
                <a:latin typeface="Arial"/>
              </a:rPr>
              <a:t>99%</a:t>
            </a:r>
          </a:p>
        </p:txBody>
      </p:sp>
      <p:sp>
        <p:nvSpPr>
          <p:cNvPr id="27" name="Left Brace 26"/>
          <p:cNvSpPr/>
          <p:nvPr/>
        </p:nvSpPr>
        <p:spPr>
          <a:xfrm rot="5400000">
            <a:off x="4784300" y="3369441"/>
            <a:ext cx="148369" cy="646544"/>
          </a:xfrm>
          <a:prstGeom prst="leftBrace">
            <a:avLst/>
          </a:prstGeom>
          <a:ln w="57150">
            <a:solidFill>
              <a:srgbClr val="0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342900"/>
            <a:endParaRPr lang="en-IN" sz="1350">
              <a:solidFill>
                <a:prstClr val="black"/>
              </a:solidFill>
              <a:latin typeface="Arial"/>
            </a:endParaRPr>
          </a:p>
        </p:txBody>
      </p:sp>
      <p:cxnSp>
        <p:nvCxnSpPr>
          <p:cNvPr id="28" name="Straight Arrow Connector 27"/>
          <p:cNvCxnSpPr>
            <a:cxnSpLocks/>
          </p:cNvCxnSpPr>
          <p:nvPr/>
        </p:nvCxnSpPr>
        <p:spPr>
          <a:xfrm flipH="1" flipV="1">
            <a:off x="3050194" y="2334136"/>
            <a:ext cx="1100979" cy="601862"/>
          </a:xfrm>
          <a:prstGeom prst="straightConnector1">
            <a:avLst/>
          </a:prstGeom>
          <a:ln w="38100"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9" name="TextBox 28"/>
          <p:cNvSpPr txBox="1"/>
          <p:nvPr/>
        </p:nvSpPr>
        <p:spPr>
          <a:xfrm>
            <a:off x="1632522" y="1518441"/>
            <a:ext cx="2787381" cy="73866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IN" sz="1400" dirty="0">
                <a:solidFill>
                  <a:srgbClr val="C00000"/>
                </a:solidFill>
              </a:rPr>
              <a:t>Scenario -1</a:t>
            </a:r>
          </a:p>
          <a:p>
            <a:pPr marL="216000" indent="-285750"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rgbClr val="C00000"/>
                </a:solidFill>
              </a:rPr>
              <a:t>98% on sewerage </a:t>
            </a:r>
          </a:p>
          <a:p>
            <a:pPr marL="216000" indent="-285750"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rgbClr val="C00000"/>
                </a:solidFill>
              </a:rPr>
              <a:t>2% for FSM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170613" y="1471018"/>
            <a:ext cx="2225233" cy="73866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IN" sz="1400" dirty="0">
                <a:solidFill>
                  <a:srgbClr val="C00000"/>
                </a:solidFill>
              </a:rPr>
              <a:t>Scenario-2</a:t>
            </a:r>
          </a:p>
          <a:p>
            <a:pPr marL="216000" indent="-285750"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rgbClr val="C00000"/>
                </a:solidFill>
              </a:rPr>
              <a:t>80% for sewerage </a:t>
            </a:r>
          </a:p>
          <a:p>
            <a:pPr marL="216000" indent="-285750"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rgbClr val="C00000"/>
                </a:solidFill>
              </a:rPr>
              <a:t>20% for FSM CC</a:t>
            </a:r>
          </a:p>
        </p:txBody>
      </p:sp>
      <p:cxnSp>
        <p:nvCxnSpPr>
          <p:cNvPr id="31" name="Straight Arrow Connector 30"/>
          <p:cNvCxnSpPr>
            <a:cxnSpLocks/>
            <a:stCxn id="30" idx="1"/>
          </p:cNvCxnSpPr>
          <p:nvPr/>
        </p:nvCxnSpPr>
        <p:spPr>
          <a:xfrm flipH="1">
            <a:off x="5381297" y="1840350"/>
            <a:ext cx="789316" cy="8916"/>
          </a:xfrm>
          <a:prstGeom prst="straightConnector1">
            <a:avLst/>
          </a:prstGeom>
          <a:ln w="38100"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Oval 31"/>
          <p:cNvSpPr/>
          <p:nvPr/>
        </p:nvSpPr>
        <p:spPr>
          <a:xfrm>
            <a:off x="1121497" y="1037395"/>
            <a:ext cx="111570" cy="135000"/>
          </a:xfrm>
          <a:prstGeom prst="ellipse">
            <a:avLst/>
          </a:prstGeom>
          <a:solidFill>
            <a:srgbClr val="C00000"/>
          </a:solidFill>
          <a:ln w="0">
            <a:noFill/>
          </a:ln>
          <a:effectLst>
            <a:outerShdw dist="23000" sx="1000" sy="1000" rotWithShape="0">
              <a:srgbClr val="000000"/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0"/>
            <a:endParaRPr lang="en-IN" sz="1350">
              <a:solidFill>
                <a:prstClr val="white"/>
              </a:solidFill>
              <a:latin typeface="Arial"/>
            </a:endParaRPr>
          </a:p>
        </p:txBody>
      </p:sp>
      <p:sp>
        <p:nvSpPr>
          <p:cNvPr id="33" name="TextBox 32"/>
          <p:cNvSpPr txBox="1"/>
          <p:nvPr/>
        </p:nvSpPr>
        <p:spPr>
          <a:xfrm rot="16200000">
            <a:off x="-746363" y="2060438"/>
            <a:ext cx="2797178" cy="35053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400" dirty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% COVERAGE 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6105754" y="3304844"/>
            <a:ext cx="2225233" cy="954107"/>
          </a:xfrm>
          <a:prstGeom prst="rect">
            <a:avLst/>
          </a:prstGeom>
          <a:solidFill>
            <a:srgbClr val="B02A00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en-IN" sz="1400" dirty="0">
                <a:solidFill>
                  <a:schemeClr val="bg1"/>
                </a:solidFill>
              </a:rPr>
              <a:t>At the cost of not giving UGD to 3%, FSM can be provided to 51% of the population </a:t>
            </a:r>
          </a:p>
        </p:txBody>
      </p:sp>
      <p:cxnSp>
        <p:nvCxnSpPr>
          <p:cNvPr id="42" name="Straight Arrow Connector 41"/>
          <p:cNvCxnSpPr>
            <a:cxnSpLocks/>
          </p:cNvCxnSpPr>
          <p:nvPr/>
        </p:nvCxnSpPr>
        <p:spPr>
          <a:xfrm flipH="1">
            <a:off x="5233136" y="3699685"/>
            <a:ext cx="789316" cy="8916"/>
          </a:xfrm>
          <a:prstGeom prst="straightConnector1">
            <a:avLst/>
          </a:prstGeom>
          <a:ln w="38100">
            <a:headEnd type="triangle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0231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Treatment Blue"/>
          <p:cNvSpPr/>
          <p:nvPr/>
        </p:nvSpPr>
        <p:spPr>
          <a:xfrm>
            <a:off x="5845671" y="1464750"/>
            <a:ext cx="1280160" cy="292608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3" name="Transport Blue"/>
          <p:cNvSpPr/>
          <p:nvPr/>
        </p:nvSpPr>
        <p:spPr>
          <a:xfrm>
            <a:off x="4266463" y="1464751"/>
            <a:ext cx="1280160" cy="29260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4" name="Emptying Blue"/>
          <p:cNvSpPr/>
          <p:nvPr/>
        </p:nvSpPr>
        <p:spPr>
          <a:xfrm>
            <a:off x="2687255" y="1464751"/>
            <a:ext cx="1280160" cy="29260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33" name="Treatment Blue text"/>
          <p:cNvGrpSpPr/>
          <p:nvPr/>
        </p:nvGrpSpPr>
        <p:grpSpPr>
          <a:xfrm>
            <a:off x="6076463" y="1638358"/>
            <a:ext cx="818577" cy="104746"/>
            <a:chOff x="5437188" y="-819151"/>
            <a:chExt cx="1004888" cy="128588"/>
          </a:xfrm>
          <a:solidFill>
            <a:schemeClr val="accent3">
              <a:lumMod val="75000"/>
            </a:schemeClr>
          </a:solidFill>
        </p:grpSpPr>
        <p:sp>
          <p:nvSpPr>
            <p:cNvPr id="234" name="Freeform 33"/>
            <p:cNvSpPr>
              <a:spLocks/>
            </p:cNvSpPr>
            <p:nvPr/>
          </p:nvSpPr>
          <p:spPr bwMode="auto">
            <a:xfrm>
              <a:off x="5437188" y="-819151"/>
              <a:ext cx="92075" cy="128588"/>
            </a:xfrm>
            <a:custGeom>
              <a:avLst/>
              <a:gdLst>
                <a:gd name="T0" fmla="*/ 65 w 102"/>
                <a:gd name="T1" fmla="*/ 25 h 142"/>
                <a:gd name="T2" fmla="*/ 65 w 102"/>
                <a:gd name="T3" fmla="*/ 25 h 142"/>
                <a:gd name="T4" fmla="*/ 65 w 102"/>
                <a:gd name="T5" fmla="*/ 142 h 142"/>
                <a:gd name="T6" fmla="*/ 37 w 102"/>
                <a:gd name="T7" fmla="*/ 142 h 142"/>
                <a:gd name="T8" fmla="*/ 37 w 102"/>
                <a:gd name="T9" fmla="*/ 25 h 142"/>
                <a:gd name="T10" fmla="*/ 0 w 102"/>
                <a:gd name="T11" fmla="*/ 25 h 142"/>
                <a:gd name="T12" fmla="*/ 0 w 102"/>
                <a:gd name="T13" fmla="*/ 0 h 142"/>
                <a:gd name="T14" fmla="*/ 102 w 102"/>
                <a:gd name="T15" fmla="*/ 0 h 142"/>
                <a:gd name="T16" fmla="*/ 102 w 102"/>
                <a:gd name="T17" fmla="*/ 25 h 142"/>
                <a:gd name="T18" fmla="*/ 65 w 102"/>
                <a:gd name="T19" fmla="*/ 2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42">
                  <a:moveTo>
                    <a:pt x="65" y="25"/>
                  </a:moveTo>
                  <a:lnTo>
                    <a:pt x="65" y="25"/>
                  </a:lnTo>
                  <a:lnTo>
                    <a:pt x="65" y="142"/>
                  </a:lnTo>
                  <a:lnTo>
                    <a:pt x="37" y="142"/>
                  </a:lnTo>
                  <a:lnTo>
                    <a:pt x="37" y="25"/>
                  </a:lnTo>
                  <a:lnTo>
                    <a:pt x="0" y="25"/>
                  </a:lnTo>
                  <a:lnTo>
                    <a:pt x="0" y="0"/>
                  </a:lnTo>
                  <a:lnTo>
                    <a:pt x="102" y="0"/>
                  </a:lnTo>
                  <a:lnTo>
                    <a:pt x="102" y="25"/>
                  </a:lnTo>
                  <a:lnTo>
                    <a:pt x="65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5" name="Freeform 34"/>
            <p:cNvSpPr>
              <a:spLocks noEditPoints="1"/>
            </p:cNvSpPr>
            <p:nvPr/>
          </p:nvSpPr>
          <p:spPr bwMode="auto">
            <a:xfrm>
              <a:off x="5549900" y="-819151"/>
              <a:ext cx="95250" cy="128588"/>
            </a:xfrm>
            <a:custGeom>
              <a:avLst/>
              <a:gdLst>
                <a:gd name="T0" fmla="*/ 76 w 108"/>
                <a:gd name="T1" fmla="*/ 142 h 142"/>
                <a:gd name="T2" fmla="*/ 76 w 108"/>
                <a:gd name="T3" fmla="*/ 142 h 142"/>
                <a:gd name="T4" fmla="*/ 48 w 108"/>
                <a:gd name="T5" fmla="*/ 86 h 142"/>
                <a:gd name="T6" fmla="*/ 28 w 108"/>
                <a:gd name="T7" fmla="*/ 86 h 142"/>
                <a:gd name="T8" fmla="*/ 28 w 108"/>
                <a:gd name="T9" fmla="*/ 142 h 142"/>
                <a:gd name="T10" fmla="*/ 0 w 108"/>
                <a:gd name="T11" fmla="*/ 142 h 142"/>
                <a:gd name="T12" fmla="*/ 0 w 108"/>
                <a:gd name="T13" fmla="*/ 0 h 142"/>
                <a:gd name="T14" fmla="*/ 56 w 108"/>
                <a:gd name="T15" fmla="*/ 0 h 142"/>
                <a:gd name="T16" fmla="*/ 102 w 108"/>
                <a:gd name="T17" fmla="*/ 44 h 142"/>
                <a:gd name="T18" fmla="*/ 76 w 108"/>
                <a:gd name="T19" fmla="*/ 81 h 142"/>
                <a:gd name="T20" fmla="*/ 108 w 108"/>
                <a:gd name="T21" fmla="*/ 142 h 142"/>
                <a:gd name="T22" fmla="*/ 76 w 108"/>
                <a:gd name="T23" fmla="*/ 142 h 142"/>
                <a:gd name="T24" fmla="*/ 54 w 108"/>
                <a:gd name="T25" fmla="*/ 25 h 142"/>
                <a:gd name="T26" fmla="*/ 54 w 108"/>
                <a:gd name="T27" fmla="*/ 25 h 142"/>
                <a:gd name="T28" fmla="*/ 28 w 108"/>
                <a:gd name="T29" fmla="*/ 25 h 142"/>
                <a:gd name="T30" fmla="*/ 28 w 108"/>
                <a:gd name="T31" fmla="*/ 62 h 142"/>
                <a:gd name="T32" fmla="*/ 54 w 108"/>
                <a:gd name="T33" fmla="*/ 62 h 142"/>
                <a:gd name="T34" fmla="*/ 74 w 108"/>
                <a:gd name="T35" fmla="*/ 44 h 142"/>
                <a:gd name="T36" fmla="*/ 54 w 108"/>
                <a:gd name="T37" fmla="*/ 2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8" h="142">
                  <a:moveTo>
                    <a:pt x="76" y="142"/>
                  </a:moveTo>
                  <a:lnTo>
                    <a:pt x="76" y="142"/>
                  </a:lnTo>
                  <a:lnTo>
                    <a:pt x="48" y="86"/>
                  </a:lnTo>
                  <a:lnTo>
                    <a:pt x="28" y="86"/>
                  </a:lnTo>
                  <a:lnTo>
                    <a:pt x="28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56" y="0"/>
                  </a:lnTo>
                  <a:cubicBezTo>
                    <a:pt x="85" y="0"/>
                    <a:pt x="102" y="20"/>
                    <a:pt x="102" y="44"/>
                  </a:cubicBezTo>
                  <a:cubicBezTo>
                    <a:pt x="102" y="64"/>
                    <a:pt x="90" y="76"/>
                    <a:pt x="76" y="81"/>
                  </a:cubicBezTo>
                  <a:lnTo>
                    <a:pt x="108" y="142"/>
                  </a:lnTo>
                  <a:lnTo>
                    <a:pt x="76" y="142"/>
                  </a:lnTo>
                  <a:close/>
                  <a:moveTo>
                    <a:pt x="54" y="25"/>
                  </a:moveTo>
                  <a:lnTo>
                    <a:pt x="54" y="25"/>
                  </a:lnTo>
                  <a:lnTo>
                    <a:pt x="28" y="25"/>
                  </a:lnTo>
                  <a:lnTo>
                    <a:pt x="28" y="62"/>
                  </a:lnTo>
                  <a:lnTo>
                    <a:pt x="54" y="62"/>
                  </a:lnTo>
                  <a:cubicBezTo>
                    <a:pt x="66" y="62"/>
                    <a:pt x="74" y="55"/>
                    <a:pt x="74" y="44"/>
                  </a:cubicBezTo>
                  <a:cubicBezTo>
                    <a:pt x="74" y="33"/>
                    <a:pt x="66" y="25"/>
                    <a:pt x="54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6" name="Freeform 35"/>
            <p:cNvSpPr>
              <a:spLocks/>
            </p:cNvSpPr>
            <p:nvPr/>
          </p:nvSpPr>
          <p:spPr bwMode="auto">
            <a:xfrm>
              <a:off x="5665788" y="-819151"/>
              <a:ext cx="82550" cy="128588"/>
            </a:xfrm>
            <a:custGeom>
              <a:avLst/>
              <a:gdLst>
                <a:gd name="T0" fmla="*/ 0 w 93"/>
                <a:gd name="T1" fmla="*/ 142 h 142"/>
                <a:gd name="T2" fmla="*/ 0 w 93"/>
                <a:gd name="T3" fmla="*/ 142 h 142"/>
                <a:gd name="T4" fmla="*/ 0 w 93"/>
                <a:gd name="T5" fmla="*/ 0 h 142"/>
                <a:gd name="T6" fmla="*/ 93 w 93"/>
                <a:gd name="T7" fmla="*/ 0 h 142"/>
                <a:gd name="T8" fmla="*/ 93 w 93"/>
                <a:gd name="T9" fmla="*/ 25 h 142"/>
                <a:gd name="T10" fmla="*/ 27 w 93"/>
                <a:gd name="T11" fmla="*/ 25 h 142"/>
                <a:gd name="T12" fmla="*/ 27 w 93"/>
                <a:gd name="T13" fmla="*/ 58 h 142"/>
                <a:gd name="T14" fmla="*/ 84 w 93"/>
                <a:gd name="T15" fmla="*/ 58 h 142"/>
                <a:gd name="T16" fmla="*/ 84 w 93"/>
                <a:gd name="T17" fmla="*/ 83 h 142"/>
                <a:gd name="T18" fmla="*/ 27 w 93"/>
                <a:gd name="T19" fmla="*/ 83 h 142"/>
                <a:gd name="T20" fmla="*/ 27 w 93"/>
                <a:gd name="T21" fmla="*/ 118 h 142"/>
                <a:gd name="T22" fmla="*/ 93 w 93"/>
                <a:gd name="T23" fmla="*/ 118 h 142"/>
                <a:gd name="T24" fmla="*/ 93 w 93"/>
                <a:gd name="T25" fmla="*/ 142 h 142"/>
                <a:gd name="T26" fmla="*/ 0 w 93"/>
                <a:gd name="T27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3" h="142">
                  <a:moveTo>
                    <a:pt x="0" y="142"/>
                  </a:moveTo>
                  <a:lnTo>
                    <a:pt x="0" y="142"/>
                  </a:lnTo>
                  <a:lnTo>
                    <a:pt x="0" y="0"/>
                  </a:lnTo>
                  <a:lnTo>
                    <a:pt x="93" y="0"/>
                  </a:lnTo>
                  <a:lnTo>
                    <a:pt x="93" y="25"/>
                  </a:lnTo>
                  <a:lnTo>
                    <a:pt x="27" y="25"/>
                  </a:lnTo>
                  <a:lnTo>
                    <a:pt x="27" y="58"/>
                  </a:lnTo>
                  <a:lnTo>
                    <a:pt x="84" y="58"/>
                  </a:lnTo>
                  <a:lnTo>
                    <a:pt x="84" y="83"/>
                  </a:lnTo>
                  <a:lnTo>
                    <a:pt x="27" y="83"/>
                  </a:lnTo>
                  <a:lnTo>
                    <a:pt x="27" y="118"/>
                  </a:lnTo>
                  <a:lnTo>
                    <a:pt x="93" y="118"/>
                  </a:lnTo>
                  <a:lnTo>
                    <a:pt x="93" y="142"/>
                  </a:lnTo>
                  <a:lnTo>
                    <a:pt x="0" y="1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7" name="Freeform 36"/>
            <p:cNvSpPr>
              <a:spLocks noEditPoints="1"/>
            </p:cNvSpPr>
            <p:nvPr/>
          </p:nvSpPr>
          <p:spPr bwMode="auto">
            <a:xfrm>
              <a:off x="5764213" y="-819151"/>
              <a:ext cx="112713" cy="128588"/>
            </a:xfrm>
            <a:custGeom>
              <a:avLst/>
              <a:gdLst>
                <a:gd name="T0" fmla="*/ 97 w 126"/>
                <a:gd name="T1" fmla="*/ 142 h 142"/>
                <a:gd name="T2" fmla="*/ 97 w 126"/>
                <a:gd name="T3" fmla="*/ 142 h 142"/>
                <a:gd name="T4" fmla="*/ 89 w 126"/>
                <a:gd name="T5" fmla="*/ 117 h 142"/>
                <a:gd name="T6" fmla="*/ 38 w 126"/>
                <a:gd name="T7" fmla="*/ 117 h 142"/>
                <a:gd name="T8" fmla="*/ 29 w 126"/>
                <a:gd name="T9" fmla="*/ 142 h 142"/>
                <a:gd name="T10" fmla="*/ 0 w 126"/>
                <a:gd name="T11" fmla="*/ 142 h 142"/>
                <a:gd name="T12" fmla="*/ 52 w 126"/>
                <a:gd name="T13" fmla="*/ 0 h 142"/>
                <a:gd name="T14" fmla="*/ 74 w 126"/>
                <a:gd name="T15" fmla="*/ 0 h 142"/>
                <a:gd name="T16" fmla="*/ 126 w 126"/>
                <a:gd name="T17" fmla="*/ 142 h 142"/>
                <a:gd name="T18" fmla="*/ 97 w 126"/>
                <a:gd name="T19" fmla="*/ 142 h 142"/>
                <a:gd name="T20" fmla="*/ 64 w 126"/>
                <a:gd name="T21" fmla="*/ 42 h 142"/>
                <a:gd name="T22" fmla="*/ 64 w 126"/>
                <a:gd name="T23" fmla="*/ 42 h 142"/>
                <a:gd name="T24" fmla="*/ 46 w 126"/>
                <a:gd name="T25" fmla="*/ 94 h 142"/>
                <a:gd name="T26" fmla="*/ 81 w 126"/>
                <a:gd name="T27" fmla="*/ 94 h 142"/>
                <a:gd name="T28" fmla="*/ 64 w 126"/>
                <a:gd name="T29" fmla="*/ 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6" h="142">
                  <a:moveTo>
                    <a:pt x="97" y="142"/>
                  </a:moveTo>
                  <a:lnTo>
                    <a:pt x="97" y="142"/>
                  </a:lnTo>
                  <a:lnTo>
                    <a:pt x="89" y="117"/>
                  </a:lnTo>
                  <a:lnTo>
                    <a:pt x="38" y="117"/>
                  </a:lnTo>
                  <a:lnTo>
                    <a:pt x="29" y="142"/>
                  </a:lnTo>
                  <a:lnTo>
                    <a:pt x="0" y="142"/>
                  </a:lnTo>
                  <a:lnTo>
                    <a:pt x="52" y="0"/>
                  </a:lnTo>
                  <a:lnTo>
                    <a:pt x="74" y="0"/>
                  </a:lnTo>
                  <a:lnTo>
                    <a:pt x="126" y="142"/>
                  </a:lnTo>
                  <a:lnTo>
                    <a:pt x="97" y="142"/>
                  </a:lnTo>
                  <a:close/>
                  <a:moveTo>
                    <a:pt x="64" y="42"/>
                  </a:moveTo>
                  <a:lnTo>
                    <a:pt x="64" y="42"/>
                  </a:lnTo>
                  <a:lnTo>
                    <a:pt x="46" y="94"/>
                  </a:lnTo>
                  <a:lnTo>
                    <a:pt x="81" y="94"/>
                  </a:lnTo>
                  <a:lnTo>
                    <a:pt x="64" y="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8" name="Freeform 37"/>
            <p:cNvSpPr>
              <a:spLocks/>
            </p:cNvSpPr>
            <p:nvPr/>
          </p:nvSpPr>
          <p:spPr bwMode="auto">
            <a:xfrm>
              <a:off x="5872163" y="-819151"/>
              <a:ext cx="92075" cy="128588"/>
            </a:xfrm>
            <a:custGeom>
              <a:avLst/>
              <a:gdLst>
                <a:gd name="T0" fmla="*/ 65 w 102"/>
                <a:gd name="T1" fmla="*/ 25 h 142"/>
                <a:gd name="T2" fmla="*/ 65 w 102"/>
                <a:gd name="T3" fmla="*/ 25 h 142"/>
                <a:gd name="T4" fmla="*/ 65 w 102"/>
                <a:gd name="T5" fmla="*/ 142 h 142"/>
                <a:gd name="T6" fmla="*/ 37 w 102"/>
                <a:gd name="T7" fmla="*/ 142 h 142"/>
                <a:gd name="T8" fmla="*/ 37 w 102"/>
                <a:gd name="T9" fmla="*/ 25 h 142"/>
                <a:gd name="T10" fmla="*/ 0 w 102"/>
                <a:gd name="T11" fmla="*/ 25 h 142"/>
                <a:gd name="T12" fmla="*/ 0 w 102"/>
                <a:gd name="T13" fmla="*/ 0 h 142"/>
                <a:gd name="T14" fmla="*/ 102 w 102"/>
                <a:gd name="T15" fmla="*/ 0 h 142"/>
                <a:gd name="T16" fmla="*/ 102 w 102"/>
                <a:gd name="T17" fmla="*/ 25 h 142"/>
                <a:gd name="T18" fmla="*/ 65 w 102"/>
                <a:gd name="T19" fmla="*/ 2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42">
                  <a:moveTo>
                    <a:pt x="65" y="25"/>
                  </a:moveTo>
                  <a:lnTo>
                    <a:pt x="65" y="25"/>
                  </a:lnTo>
                  <a:lnTo>
                    <a:pt x="65" y="142"/>
                  </a:lnTo>
                  <a:lnTo>
                    <a:pt x="37" y="142"/>
                  </a:lnTo>
                  <a:lnTo>
                    <a:pt x="37" y="25"/>
                  </a:lnTo>
                  <a:lnTo>
                    <a:pt x="0" y="25"/>
                  </a:lnTo>
                  <a:lnTo>
                    <a:pt x="0" y="0"/>
                  </a:lnTo>
                  <a:lnTo>
                    <a:pt x="102" y="0"/>
                  </a:lnTo>
                  <a:lnTo>
                    <a:pt x="102" y="25"/>
                  </a:lnTo>
                  <a:lnTo>
                    <a:pt x="65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9" name="Freeform 38"/>
            <p:cNvSpPr>
              <a:spLocks/>
            </p:cNvSpPr>
            <p:nvPr/>
          </p:nvSpPr>
          <p:spPr bwMode="auto">
            <a:xfrm>
              <a:off x="5984875" y="-819151"/>
              <a:ext cx="114300" cy="128588"/>
            </a:xfrm>
            <a:custGeom>
              <a:avLst/>
              <a:gdLst>
                <a:gd name="T0" fmla="*/ 101 w 129"/>
                <a:gd name="T1" fmla="*/ 142 h 142"/>
                <a:gd name="T2" fmla="*/ 101 w 129"/>
                <a:gd name="T3" fmla="*/ 142 h 142"/>
                <a:gd name="T4" fmla="*/ 101 w 129"/>
                <a:gd name="T5" fmla="*/ 59 h 142"/>
                <a:gd name="T6" fmla="*/ 74 w 129"/>
                <a:gd name="T7" fmla="*/ 113 h 142"/>
                <a:gd name="T8" fmla="*/ 55 w 129"/>
                <a:gd name="T9" fmla="*/ 113 h 142"/>
                <a:gd name="T10" fmla="*/ 27 w 129"/>
                <a:gd name="T11" fmla="*/ 59 h 142"/>
                <a:gd name="T12" fmla="*/ 27 w 129"/>
                <a:gd name="T13" fmla="*/ 142 h 142"/>
                <a:gd name="T14" fmla="*/ 0 w 129"/>
                <a:gd name="T15" fmla="*/ 142 h 142"/>
                <a:gd name="T16" fmla="*/ 0 w 129"/>
                <a:gd name="T17" fmla="*/ 0 h 142"/>
                <a:gd name="T18" fmla="*/ 27 w 129"/>
                <a:gd name="T19" fmla="*/ 0 h 142"/>
                <a:gd name="T20" fmla="*/ 64 w 129"/>
                <a:gd name="T21" fmla="*/ 77 h 142"/>
                <a:gd name="T22" fmla="*/ 101 w 129"/>
                <a:gd name="T23" fmla="*/ 0 h 142"/>
                <a:gd name="T24" fmla="*/ 129 w 129"/>
                <a:gd name="T25" fmla="*/ 0 h 142"/>
                <a:gd name="T26" fmla="*/ 129 w 129"/>
                <a:gd name="T27" fmla="*/ 142 h 142"/>
                <a:gd name="T28" fmla="*/ 101 w 129"/>
                <a:gd name="T2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9" h="142">
                  <a:moveTo>
                    <a:pt x="101" y="142"/>
                  </a:moveTo>
                  <a:lnTo>
                    <a:pt x="101" y="142"/>
                  </a:lnTo>
                  <a:lnTo>
                    <a:pt x="101" y="59"/>
                  </a:lnTo>
                  <a:lnTo>
                    <a:pt x="74" y="113"/>
                  </a:lnTo>
                  <a:lnTo>
                    <a:pt x="55" y="113"/>
                  </a:lnTo>
                  <a:lnTo>
                    <a:pt x="27" y="59"/>
                  </a:lnTo>
                  <a:lnTo>
                    <a:pt x="27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27" y="0"/>
                  </a:lnTo>
                  <a:lnTo>
                    <a:pt x="64" y="77"/>
                  </a:lnTo>
                  <a:lnTo>
                    <a:pt x="101" y="0"/>
                  </a:lnTo>
                  <a:lnTo>
                    <a:pt x="129" y="0"/>
                  </a:lnTo>
                  <a:lnTo>
                    <a:pt x="129" y="142"/>
                  </a:lnTo>
                  <a:lnTo>
                    <a:pt x="101" y="1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0" name="Freeform 39"/>
            <p:cNvSpPr>
              <a:spLocks/>
            </p:cNvSpPr>
            <p:nvPr/>
          </p:nvSpPr>
          <p:spPr bwMode="auto">
            <a:xfrm>
              <a:off x="6127750" y="-819151"/>
              <a:ext cx="82550" cy="128588"/>
            </a:xfrm>
            <a:custGeom>
              <a:avLst/>
              <a:gdLst>
                <a:gd name="T0" fmla="*/ 0 w 93"/>
                <a:gd name="T1" fmla="*/ 142 h 142"/>
                <a:gd name="T2" fmla="*/ 0 w 93"/>
                <a:gd name="T3" fmla="*/ 142 h 142"/>
                <a:gd name="T4" fmla="*/ 0 w 93"/>
                <a:gd name="T5" fmla="*/ 0 h 142"/>
                <a:gd name="T6" fmla="*/ 93 w 93"/>
                <a:gd name="T7" fmla="*/ 0 h 142"/>
                <a:gd name="T8" fmla="*/ 93 w 93"/>
                <a:gd name="T9" fmla="*/ 25 h 142"/>
                <a:gd name="T10" fmla="*/ 27 w 93"/>
                <a:gd name="T11" fmla="*/ 25 h 142"/>
                <a:gd name="T12" fmla="*/ 27 w 93"/>
                <a:gd name="T13" fmla="*/ 58 h 142"/>
                <a:gd name="T14" fmla="*/ 84 w 93"/>
                <a:gd name="T15" fmla="*/ 58 h 142"/>
                <a:gd name="T16" fmla="*/ 84 w 93"/>
                <a:gd name="T17" fmla="*/ 83 h 142"/>
                <a:gd name="T18" fmla="*/ 27 w 93"/>
                <a:gd name="T19" fmla="*/ 83 h 142"/>
                <a:gd name="T20" fmla="*/ 27 w 93"/>
                <a:gd name="T21" fmla="*/ 118 h 142"/>
                <a:gd name="T22" fmla="*/ 93 w 93"/>
                <a:gd name="T23" fmla="*/ 118 h 142"/>
                <a:gd name="T24" fmla="*/ 93 w 93"/>
                <a:gd name="T25" fmla="*/ 142 h 142"/>
                <a:gd name="T26" fmla="*/ 0 w 93"/>
                <a:gd name="T27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3" h="142">
                  <a:moveTo>
                    <a:pt x="0" y="142"/>
                  </a:moveTo>
                  <a:lnTo>
                    <a:pt x="0" y="142"/>
                  </a:lnTo>
                  <a:lnTo>
                    <a:pt x="0" y="0"/>
                  </a:lnTo>
                  <a:lnTo>
                    <a:pt x="93" y="0"/>
                  </a:lnTo>
                  <a:lnTo>
                    <a:pt x="93" y="25"/>
                  </a:lnTo>
                  <a:lnTo>
                    <a:pt x="27" y="25"/>
                  </a:lnTo>
                  <a:lnTo>
                    <a:pt x="27" y="58"/>
                  </a:lnTo>
                  <a:lnTo>
                    <a:pt x="84" y="58"/>
                  </a:lnTo>
                  <a:lnTo>
                    <a:pt x="84" y="83"/>
                  </a:lnTo>
                  <a:lnTo>
                    <a:pt x="27" y="83"/>
                  </a:lnTo>
                  <a:lnTo>
                    <a:pt x="27" y="118"/>
                  </a:lnTo>
                  <a:lnTo>
                    <a:pt x="93" y="118"/>
                  </a:lnTo>
                  <a:lnTo>
                    <a:pt x="93" y="142"/>
                  </a:lnTo>
                  <a:lnTo>
                    <a:pt x="0" y="1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1" name="Freeform 40"/>
            <p:cNvSpPr>
              <a:spLocks/>
            </p:cNvSpPr>
            <p:nvPr/>
          </p:nvSpPr>
          <p:spPr bwMode="auto">
            <a:xfrm>
              <a:off x="6234113" y="-819151"/>
              <a:ext cx="98425" cy="128588"/>
            </a:xfrm>
            <a:custGeom>
              <a:avLst/>
              <a:gdLst>
                <a:gd name="T0" fmla="*/ 84 w 109"/>
                <a:gd name="T1" fmla="*/ 142 h 142"/>
                <a:gd name="T2" fmla="*/ 84 w 109"/>
                <a:gd name="T3" fmla="*/ 142 h 142"/>
                <a:gd name="T4" fmla="*/ 27 w 109"/>
                <a:gd name="T5" fmla="*/ 55 h 142"/>
                <a:gd name="T6" fmla="*/ 27 w 109"/>
                <a:gd name="T7" fmla="*/ 142 h 142"/>
                <a:gd name="T8" fmla="*/ 0 w 109"/>
                <a:gd name="T9" fmla="*/ 142 h 142"/>
                <a:gd name="T10" fmla="*/ 0 w 109"/>
                <a:gd name="T11" fmla="*/ 0 h 142"/>
                <a:gd name="T12" fmla="*/ 24 w 109"/>
                <a:gd name="T13" fmla="*/ 0 h 142"/>
                <a:gd name="T14" fmla="*/ 81 w 109"/>
                <a:gd name="T15" fmla="*/ 87 h 142"/>
                <a:gd name="T16" fmla="*/ 81 w 109"/>
                <a:gd name="T17" fmla="*/ 0 h 142"/>
                <a:gd name="T18" fmla="*/ 109 w 109"/>
                <a:gd name="T19" fmla="*/ 0 h 142"/>
                <a:gd name="T20" fmla="*/ 109 w 109"/>
                <a:gd name="T21" fmla="*/ 142 h 142"/>
                <a:gd name="T22" fmla="*/ 84 w 109"/>
                <a:gd name="T23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142">
                  <a:moveTo>
                    <a:pt x="84" y="142"/>
                  </a:moveTo>
                  <a:lnTo>
                    <a:pt x="84" y="142"/>
                  </a:lnTo>
                  <a:lnTo>
                    <a:pt x="27" y="55"/>
                  </a:lnTo>
                  <a:lnTo>
                    <a:pt x="27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81" y="87"/>
                  </a:lnTo>
                  <a:lnTo>
                    <a:pt x="81" y="0"/>
                  </a:lnTo>
                  <a:lnTo>
                    <a:pt x="109" y="0"/>
                  </a:lnTo>
                  <a:lnTo>
                    <a:pt x="109" y="142"/>
                  </a:lnTo>
                  <a:lnTo>
                    <a:pt x="84" y="1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2" name="Freeform 41"/>
            <p:cNvSpPr>
              <a:spLocks/>
            </p:cNvSpPr>
            <p:nvPr/>
          </p:nvSpPr>
          <p:spPr bwMode="auto">
            <a:xfrm>
              <a:off x="6351588" y="-819151"/>
              <a:ext cx="90488" cy="128588"/>
            </a:xfrm>
            <a:custGeom>
              <a:avLst/>
              <a:gdLst>
                <a:gd name="T0" fmla="*/ 65 w 102"/>
                <a:gd name="T1" fmla="*/ 25 h 142"/>
                <a:gd name="T2" fmla="*/ 65 w 102"/>
                <a:gd name="T3" fmla="*/ 25 h 142"/>
                <a:gd name="T4" fmla="*/ 65 w 102"/>
                <a:gd name="T5" fmla="*/ 142 h 142"/>
                <a:gd name="T6" fmla="*/ 37 w 102"/>
                <a:gd name="T7" fmla="*/ 142 h 142"/>
                <a:gd name="T8" fmla="*/ 37 w 102"/>
                <a:gd name="T9" fmla="*/ 25 h 142"/>
                <a:gd name="T10" fmla="*/ 0 w 102"/>
                <a:gd name="T11" fmla="*/ 25 h 142"/>
                <a:gd name="T12" fmla="*/ 0 w 102"/>
                <a:gd name="T13" fmla="*/ 0 h 142"/>
                <a:gd name="T14" fmla="*/ 102 w 102"/>
                <a:gd name="T15" fmla="*/ 0 h 142"/>
                <a:gd name="T16" fmla="*/ 102 w 102"/>
                <a:gd name="T17" fmla="*/ 25 h 142"/>
                <a:gd name="T18" fmla="*/ 65 w 102"/>
                <a:gd name="T19" fmla="*/ 2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42">
                  <a:moveTo>
                    <a:pt x="65" y="25"/>
                  </a:moveTo>
                  <a:lnTo>
                    <a:pt x="65" y="25"/>
                  </a:lnTo>
                  <a:lnTo>
                    <a:pt x="65" y="142"/>
                  </a:lnTo>
                  <a:lnTo>
                    <a:pt x="37" y="142"/>
                  </a:lnTo>
                  <a:lnTo>
                    <a:pt x="37" y="25"/>
                  </a:lnTo>
                  <a:lnTo>
                    <a:pt x="0" y="25"/>
                  </a:lnTo>
                  <a:lnTo>
                    <a:pt x="0" y="0"/>
                  </a:lnTo>
                  <a:lnTo>
                    <a:pt x="102" y="0"/>
                  </a:lnTo>
                  <a:lnTo>
                    <a:pt x="102" y="25"/>
                  </a:lnTo>
                  <a:lnTo>
                    <a:pt x="65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43" name="Transport Blue text"/>
          <p:cNvGrpSpPr/>
          <p:nvPr/>
        </p:nvGrpSpPr>
        <p:grpSpPr>
          <a:xfrm>
            <a:off x="4495315" y="1637712"/>
            <a:ext cx="822456" cy="106039"/>
            <a:chOff x="3205163" y="-1457326"/>
            <a:chExt cx="1009650" cy="130175"/>
          </a:xfrm>
          <a:solidFill>
            <a:schemeClr val="accent3">
              <a:lumMod val="75000"/>
            </a:schemeClr>
          </a:solidFill>
        </p:grpSpPr>
        <p:sp>
          <p:nvSpPr>
            <p:cNvPr id="244" name="Freeform 24"/>
            <p:cNvSpPr>
              <a:spLocks/>
            </p:cNvSpPr>
            <p:nvPr/>
          </p:nvSpPr>
          <p:spPr bwMode="auto">
            <a:xfrm>
              <a:off x="3205163" y="-1457326"/>
              <a:ext cx="92075" cy="128588"/>
            </a:xfrm>
            <a:custGeom>
              <a:avLst/>
              <a:gdLst>
                <a:gd name="T0" fmla="*/ 0 w 103"/>
                <a:gd name="T1" fmla="*/ 0 h 142"/>
                <a:gd name="T2" fmla="*/ 0 w 103"/>
                <a:gd name="T3" fmla="*/ 0 h 142"/>
                <a:gd name="T4" fmla="*/ 0 w 103"/>
                <a:gd name="T5" fmla="*/ 24 h 142"/>
                <a:gd name="T6" fmla="*/ 38 w 103"/>
                <a:gd name="T7" fmla="*/ 24 h 142"/>
                <a:gd name="T8" fmla="*/ 38 w 103"/>
                <a:gd name="T9" fmla="*/ 142 h 142"/>
                <a:gd name="T10" fmla="*/ 65 w 103"/>
                <a:gd name="T11" fmla="*/ 142 h 142"/>
                <a:gd name="T12" fmla="*/ 65 w 103"/>
                <a:gd name="T13" fmla="*/ 24 h 142"/>
                <a:gd name="T14" fmla="*/ 103 w 103"/>
                <a:gd name="T15" fmla="*/ 24 h 142"/>
                <a:gd name="T16" fmla="*/ 103 w 103"/>
                <a:gd name="T17" fmla="*/ 0 h 142"/>
                <a:gd name="T18" fmla="*/ 0 w 103"/>
                <a:gd name="T1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142">
                  <a:moveTo>
                    <a:pt x="0" y="0"/>
                  </a:moveTo>
                  <a:lnTo>
                    <a:pt x="0" y="0"/>
                  </a:lnTo>
                  <a:lnTo>
                    <a:pt x="0" y="24"/>
                  </a:lnTo>
                  <a:lnTo>
                    <a:pt x="38" y="24"/>
                  </a:lnTo>
                  <a:lnTo>
                    <a:pt x="38" y="142"/>
                  </a:lnTo>
                  <a:lnTo>
                    <a:pt x="65" y="142"/>
                  </a:lnTo>
                  <a:lnTo>
                    <a:pt x="65" y="24"/>
                  </a:lnTo>
                  <a:lnTo>
                    <a:pt x="103" y="24"/>
                  </a:lnTo>
                  <a:lnTo>
                    <a:pt x="1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5" name="Freeform 25"/>
            <p:cNvSpPr>
              <a:spLocks noEditPoints="1"/>
            </p:cNvSpPr>
            <p:nvPr/>
          </p:nvSpPr>
          <p:spPr bwMode="auto">
            <a:xfrm>
              <a:off x="3316288" y="-1457326"/>
              <a:ext cx="96838" cy="128588"/>
            </a:xfrm>
            <a:custGeom>
              <a:avLst/>
              <a:gdLst>
                <a:gd name="T0" fmla="*/ 76 w 108"/>
                <a:gd name="T1" fmla="*/ 142 h 142"/>
                <a:gd name="T2" fmla="*/ 76 w 108"/>
                <a:gd name="T3" fmla="*/ 142 h 142"/>
                <a:gd name="T4" fmla="*/ 48 w 108"/>
                <a:gd name="T5" fmla="*/ 85 h 142"/>
                <a:gd name="T6" fmla="*/ 28 w 108"/>
                <a:gd name="T7" fmla="*/ 85 h 142"/>
                <a:gd name="T8" fmla="*/ 28 w 108"/>
                <a:gd name="T9" fmla="*/ 142 h 142"/>
                <a:gd name="T10" fmla="*/ 0 w 108"/>
                <a:gd name="T11" fmla="*/ 142 h 142"/>
                <a:gd name="T12" fmla="*/ 0 w 108"/>
                <a:gd name="T13" fmla="*/ 0 h 142"/>
                <a:gd name="T14" fmla="*/ 56 w 108"/>
                <a:gd name="T15" fmla="*/ 0 h 142"/>
                <a:gd name="T16" fmla="*/ 102 w 108"/>
                <a:gd name="T17" fmla="*/ 43 h 142"/>
                <a:gd name="T18" fmla="*/ 76 w 108"/>
                <a:gd name="T19" fmla="*/ 80 h 142"/>
                <a:gd name="T20" fmla="*/ 108 w 108"/>
                <a:gd name="T21" fmla="*/ 142 h 142"/>
                <a:gd name="T22" fmla="*/ 76 w 108"/>
                <a:gd name="T23" fmla="*/ 142 h 142"/>
                <a:gd name="T24" fmla="*/ 54 w 108"/>
                <a:gd name="T25" fmla="*/ 24 h 142"/>
                <a:gd name="T26" fmla="*/ 54 w 108"/>
                <a:gd name="T27" fmla="*/ 24 h 142"/>
                <a:gd name="T28" fmla="*/ 28 w 108"/>
                <a:gd name="T29" fmla="*/ 24 h 142"/>
                <a:gd name="T30" fmla="*/ 28 w 108"/>
                <a:gd name="T31" fmla="*/ 62 h 142"/>
                <a:gd name="T32" fmla="*/ 54 w 108"/>
                <a:gd name="T33" fmla="*/ 62 h 142"/>
                <a:gd name="T34" fmla="*/ 74 w 108"/>
                <a:gd name="T35" fmla="*/ 43 h 142"/>
                <a:gd name="T36" fmla="*/ 54 w 108"/>
                <a:gd name="T37" fmla="*/ 2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8" h="142">
                  <a:moveTo>
                    <a:pt x="76" y="142"/>
                  </a:moveTo>
                  <a:lnTo>
                    <a:pt x="76" y="142"/>
                  </a:lnTo>
                  <a:lnTo>
                    <a:pt x="48" y="85"/>
                  </a:lnTo>
                  <a:lnTo>
                    <a:pt x="28" y="85"/>
                  </a:lnTo>
                  <a:lnTo>
                    <a:pt x="28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56" y="0"/>
                  </a:lnTo>
                  <a:cubicBezTo>
                    <a:pt x="85" y="0"/>
                    <a:pt x="102" y="19"/>
                    <a:pt x="102" y="43"/>
                  </a:cubicBezTo>
                  <a:cubicBezTo>
                    <a:pt x="102" y="63"/>
                    <a:pt x="90" y="75"/>
                    <a:pt x="76" y="80"/>
                  </a:cubicBezTo>
                  <a:lnTo>
                    <a:pt x="108" y="142"/>
                  </a:lnTo>
                  <a:lnTo>
                    <a:pt x="76" y="142"/>
                  </a:lnTo>
                  <a:close/>
                  <a:moveTo>
                    <a:pt x="54" y="24"/>
                  </a:moveTo>
                  <a:lnTo>
                    <a:pt x="54" y="24"/>
                  </a:lnTo>
                  <a:lnTo>
                    <a:pt x="28" y="24"/>
                  </a:lnTo>
                  <a:lnTo>
                    <a:pt x="28" y="62"/>
                  </a:lnTo>
                  <a:lnTo>
                    <a:pt x="54" y="62"/>
                  </a:lnTo>
                  <a:cubicBezTo>
                    <a:pt x="66" y="62"/>
                    <a:pt x="74" y="54"/>
                    <a:pt x="74" y="43"/>
                  </a:cubicBezTo>
                  <a:cubicBezTo>
                    <a:pt x="74" y="32"/>
                    <a:pt x="66" y="24"/>
                    <a:pt x="54" y="2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6" name="Freeform 26"/>
            <p:cNvSpPr>
              <a:spLocks noEditPoints="1"/>
            </p:cNvSpPr>
            <p:nvPr/>
          </p:nvSpPr>
          <p:spPr bwMode="auto">
            <a:xfrm>
              <a:off x="3427413" y="-1457326"/>
              <a:ext cx="111125" cy="128588"/>
            </a:xfrm>
            <a:custGeom>
              <a:avLst/>
              <a:gdLst>
                <a:gd name="T0" fmla="*/ 52 w 126"/>
                <a:gd name="T1" fmla="*/ 0 h 142"/>
                <a:gd name="T2" fmla="*/ 52 w 126"/>
                <a:gd name="T3" fmla="*/ 0 h 142"/>
                <a:gd name="T4" fmla="*/ 0 w 126"/>
                <a:gd name="T5" fmla="*/ 142 h 142"/>
                <a:gd name="T6" fmla="*/ 29 w 126"/>
                <a:gd name="T7" fmla="*/ 142 h 142"/>
                <a:gd name="T8" fmla="*/ 38 w 126"/>
                <a:gd name="T9" fmla="*/ 116 h 142"/>
                <a:gd name="T10" fmla="*/ 88 w 126"/>
                <a:gd name="T11" fmla="*/ 116 h 142"/>
                <a:gd name="T12" fmla="*/ 97 w 126"/>
                <a:gd name="T13" fmla="*/ 142 h 142"/>
                <a:gd name="T14" fmla="*/ 126 w 126"/>
                <a:gd name="T15" fmla="*/ 142 h 142"/>
                <a:gd name="T16" fmla="*/ 74 w 126"/>
                <a:gd name="T17" fmla="*/ 0 h 142"/>
                <a:gd name="T18" fmla="*/ 52 w 126"/>
                <a:gd name="T19" fmla="*/ 0 h 142"/>
                <a:gd name="T20" fmla="*/ 63 w 126"/>
                <a:gd name="T21" fmla="*/ 41 h 142"/>
                <a:gd name="T22" fmla="*/ 63 w 126"/>
                <a:gd name="T23" fmla="*/ 41 h 142"/>
                <a:gd name="T24" fmla="*/ 81 w 126"/>
                <a:gd name="T25" fmla="*/ 93 h 142"/>
                <a:gd name="T26" fmla="*/ 45 w 126"/>
                <a:gd name="T27" fmla="*/ 93 h 142"/>
                <a:gd name="T28" fmla="*/ 63 w 126"/>
                <a:gd name="T29" fmla="*/ 41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6" h="142">
                  <a:moveTo>
                    <a:pt x="52" y="0"/>
                  </a:moveTo>
                  <a:lnTo>
                    <a:pt x="52" y="0"/>
                  </a:lnTo>
                  <a:lnTo>
                    <a:pt x="0" y="142"/>
                  </a:lnTo>
                  <a:lnTo>
                    <a:pt x="29" y="142"/>
                  </a:lnTo>
                  <a:lnTo>
                    <a:pt x="38" y="116"/>
                  </a:lnTo>
                  <a:lnTo>
                    <a:pt x="88" y="116"/>
                  </a:lnTo>
                  <a:lnTo>
                    <a:pt x="97" y="142"/>
                  </a:lnTo>
                  <a:lnTo>
                    <a:pt x="126" y="142"/>
                  </a:lnTo>
                  <a:lnTo>
                    <a:pt x="74" y="0"/>
                  </a:lnTo>
                  <a:lnTo>
                    <a:pt x="52" y="0"/>
                  </a:lnTo>
                  <a:close/>
                  <a:moveTo>
                    <a:pt x="63" y="41"/>
                  </a:moveTo>
                  <a:lnTo>
                    <a:pt x="63" y="41"/>
                  </a:lnTo>
                  <a:lnTo>
                    <a:pt x="81" y="93"/>
                  </a:lnTo>
                  <a:lnTo>
                    <a:pt x="45" y="93"/>
                  </a:lnTo>
                  <a:lnTo>
                    <a:pt x="63" y="4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7" name="Freeform 27"/>
            <p:cNvSpPr>
              <a:spLocks/>
            </p:cNvSpPr>
            <p:nvPr/>
          </p:nvSpPr>
          <p:spPr bwMode="auto">
            <a:xfrm>
              <a:off x="3556000" y="-1457326"/>
              <a:ext cx="98425" cy="128588"/>
            </a:xfrm>
            <a:custGeom>
              <a:avLst/>
              <a:gdLst>
                <a:gd name="T0" fmla="*/ 81 w 109"/>
                <a:gd name="T1" fmla="*/ 0 h 142"/>
                <a:gd name="T2" fmla="*/ 81 w 109"/>
                <a:gd name="T3" fmla="*/ 0 h 142"/>
                <a:gd name="T4" fmla="*/ 81 w 109"/>
                <a:gd name="T5" fmla="*/ 86 h 142"/>
                <a:gd name="T6" fmla="*/ 24 w 109"/>
                <a:gd name="T7" fmla="*/ 0 h 142"/>
                <a:gd name="T8" fmla="*/ 0 w 109"/>
                <a:gd name="T9" fmla="*/ 0 h 142"/>
                <a:gd name="T10" fmla="*/ 0 w 109"/>
                <a:gd name="T11" fmla="*/ 142 h 142"/>
                <a:gd name="T12" fmla="*/ 27 w 109"/>
                <a:gd name="T13" fmla="*/ 142 h 142"/>
                <a:gd name="T14" fmla="*/ 27 w 109"/>
                <a:gd name="T15" fmla="*/ 54 h 142"/>
                <a:gd name="T16" fmla="*/ 84 w 109"/>
                <a:gd name="T17" fmla="*/ 142 h 142"/>
                <a:gd name="T18" fmla="*/ 109 w 109"/>
                <a:gd name="T19" fmla="*/ 142 h 142"/>
                <a:gd name="T20" fmla="*/ 109 w 109"/>
                <a:gd name="T21" fmla="*/ 0 h 142"/>
                <a:gd name="T22" fmla="*/ 81 w 109"/>
                <a:gd name="T23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142">
                  <a:moveTo>
                    <a:pt x="81" y="0"/>
                  </a:moveTo>
                  <a:lnTo>
                    <a:pt x="81" y="0"/>
                  </a:lnTo>
                  <a:lnTo>
                    <a:pt x="81" y="86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142"/>
                  </a:lnTo>
                  <a:lnTo>
                    <a:pt x="27" y="142"/>
                  </a:lnTo>
                  <a:lnTo>
                    <a:pt x="27" y="54"/>
                  </a:lnTo>
                  <a:lnTo>
                    <a:pt x="84" y="142"/>
                  </a:lnTo>
                  <a:lnTo>
                    <a:pt x="109" y="142"/>
                  </a:lnTo>
                  <a:lnTo>
                    <a:pt x="109" y="0"/>
                  </a:lnTo>
                  <a:lnTo>
                    <a:pt x="8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8" name="Freeform 28"/>
            <p:cNvSpPr>
              <a:spLocks/>
            </p:cNvSpPr>
            <p:nvPr/>
          </p:nvSpPr>
          <p:spPr bwMode="auto">
            <a:xfrm>
              <a:off x="3671888" y="-1457326"/>
              <a:ext cx="93663" cy="130175"/>
            </a:xfrm>
            <a:custGeom>
              <a:avLst/>
              <a:gdLst>
                <a:gd name="T0" fmla="*/ 52 w 105"/>
                <a:gd name="T1" fmla="*/ 144 h 144"/>
                <a:gd name="T2" fmla="*/ 52 w 105"/>
                <a:gd name="T3" fmla="*/ 144 h 144"/>
                <a:gd name="T4" fmla="*/ 0 w 105"/>
                <a:gd name="T5" fmla="*/ 125 h 144"/>
                <a:gd name="T6" fmla="*/ 18 w 105"/>
                <a:gd name="T7" fmla="*/ 107 h 144"/>
                <a:gd name="T8" fmla="*/ 53 w 105"/>
                <a:gd name="T9" fmla="*/ 119 h 144"/>
                <a:gd name="T10" fmla="*/ 78 w 105"/>
                <a:gd name="T11" fmla="*/ 101 h 144"/>
                <a:gd name="T12" fmla="*/ 73 w 105"/>
                <a:gd name="T13" fmla="*/ 89 h 144"/>
                <a:gd name="T14" fmla="*/ 61 w 105"/>
                <a:gd name="T15" fmla="*/ 84 h 144"/>
                <a:gd name="T16" fmla="*/ 44 w 105"/>
                <a:gd name="T17" fmla="*/ 82 h 144"/>
                <a:gd name="T18" fmla="*/ 16 w 105"/>
                <a:gd name="T19" fmla="*/ 70 h 144"/>
                <a:gd name="T20" fmla="*/ 6 w 105"/>
                <a:gd name="T21" fmla="*/ 42 h 144"/>
                <a:gd name="T22" fmla="*/ 55 w 105"/>
                <a:gd name="T23" fmla="*/ 0 h 144"/>
                <a:gd name="T24" fmla="*/ 101 w 105"/>
                <a:gd name="T25" fmla="*/ 16 h 144"/>
                <a:gd name="T26" fmla="*/ 84 w 105"/>
                <a:gd name="T27" fmla="*/ 33 h 144"/>
                <a:gd name="T28" fmla="*/ 55 w 105"/>
                <a:gd name="T29" fmla="*/ 23 h 144"/>
                <a:gd name="T30" fmla="*/ 33 w 105"/>
                <a:gd name="T31" fmla="*/ 41 h 144"/>
                <a:gd name="T32" fmla="*/ 37 w 105"/>
                <a:gd name="T33" fmla="*/ 51 h 144"/>
                <a:gd name="T34" fmla="*/ 50 w 105"/>
                <a:gd name="T35" fmla="*/ 57 h 144"/>
                <a:gd name="T36" fmla="*/ 67 w 105"/>
                <a:gd name="T37" fmla="*/ 59 h 144"/>
                <a:gd name="T38" fmla="*/ 94 w 105"/>
                <a:gd name="T39" fmla="*/ 70 h 144"/>
                <a:gd name="T40" fmla="*/ 105 w 105"/>
                <a:gd name="T41" fmla="*/ 101 h 144"/>
                <a:gd name="T42" fmla="*/ 52 w 105"/>
                <a:gd name="T4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5" h="144">
                  <a:moveTo>
                    <a:pt x="52" y="144"/>
                  </a:moveTo>
                  <a:lnTo>
                    <a:pt x="52" y="144"/>
                  </a:lnTo>
                  <a:cubicBezTo>
                    <a:pt x="31" y="144"/>
                    <a:pt x="14" y="139"/>
                    <a:pt x="0" y="125"/>
                  </a:cubicBezTo>
                  <a:lnTo>
                    <a:pt x="18" y="107"/>
                  </a:lnTo>
                  <a:cubicBezTo>
                    <a:pt x="27" y="116"/>
                    <a:pt x="39" y="119"/>
                    <a:pt x="53" y="119"/>
                  </a:cubicBezTo>
                  <a:cubicBezTo>
                    <a:pt x="69" y="119"/>
                    <a:pt x="78" y="113"/>
                    <a:pt x="78" y="101"/>
                  </a:cubicBezTo>
                  <a:cubicBezTo>
                    <a:pt x="78" y="96"/>
                    <a:pt x="76" y="92"/>
                    <a:pt x="73" y="89"/>
                  </a:cubicBezTo>
                  <a:cubicBezTo>
                    <a:pt x="71" y="87"/>
                    <a:pt x="67" y="85"/>
                    <a:pt x="61" y="84"/>
                  </a:cubicBezTo>
                  <a:lnTo>
                    <a:pt x="44" y="82"/>
                  </a:lnTo>
                  <a:cubicBezTo>
                    <a:pt x="31" y="80"/>
                    <a:pt x="22" y="76"/>
                    <a:pt x="16" y="70"/>
                  </a:cubicBezTo>
                  <a:cubicBezTo>
                    <a:pt x="9" y="63"/>
                    <a:pt x="6" y="54"/>
                    <a:pt x="6" y="42"/>
                  </a:cubicBezTo>
                  <a:cubicBezTo>
                    <a:pt x="6" y="17"/>
                    <a:pt x="25" y="0"/>
                    <a:pt x="55" y="0"/>
                  </a:cubicBezTo>
                  <a:cubicBezTo>
                    <a:pt x="75" y="0"/>
                    <a:pt x="89" y="4"/>
                    <a:pt x="101" y="16"/>
                  </a:cubicBezTo>
                  <a:lnTo>
                    <a:pt x="84" y="33"/>
                  </a:lnTo>
                  <a:cubicBezTo>
                    <a:pt x="75" y="24"/>
                    <a:pt x="64" y="23"/>
                    <a:pt x="55" y="23"/>
                  </a:cubicBezTo>
                  <a:cubicBezTo>
                    <a:pt x="40" y="23"/>
                    <a:pt x="33" y="31"/>
                    <a:pt x="33" y="41"/>
                  </a:cubicBezTo>
                  <a:cubicBezTo>
                    <a:pt x="33" y="45"/>
                    <a:pt x="34" y="49"/>
                    <a:pt x="37" y="51"/>
                  </a:cubicBezTo>
                  <a:cubicBezTo>
                    <a:pt x="40" y="54"/>
                    <a:pt x="44" y="56"/>
                    <a:pt x="50" y="57"/>
                  </a:cubicBezTo>
                  <a:lnTo>
                    <a:pt x="67" y="59"/>
                  </a:lnTo>
                  <a:cubicBezTo>
                    <a:pt x="80" y="61"/>
                    <a:pt x="88" y="65"/>
                    <a:pt x="94" y="70"/>
                  </a:cubicBezTo>
                  <a:cubicBezTo>
                    <a:pt x="102" y="78"/>
                    <a:pt x="105" y="88"/>
                    <a:pt x="105" y="101"/>
                  </a:cubicBezTo>
                  <a:cubicBezTo>
                    <a:pt x="105" y="128"/>
                    <a:pt x="82" y="144"/>
                    <a:pt x="52" y="1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49" name="Freeform 29"/>
            <p:cNvSpPr>
              <a:spLocks noEditPoints="1"/>
            </p:cNvSpPr>
            <p:nvPr/>
          </p:nvSpPr>
          <p:spPr bwMode="auto">
            <a:xfrm>
              <a:off x="3787775" y="-1457326"/>
              <a:ext cx="90488" cy="128588"/>
            </a:xfrm>
            <a:custGeom>
              <a:avLst/>
              <a:gdLst>
                <a:gd name="T0" fmla="*/ 55 w 102"/>
                <a:gd name="T1" fmla="*/ 88 h 142"/>
                <a:gd name="T2" fmla="*/ 55 w 102"/>
                <a:gd name="T3" fmla="*/ 88 h 142"/>
                <a:gd name="T4" fmla="*/ 28 w 102"/>
                <a:gd name="T5" fmla="*/ 88 h 142"/>
                <a:gd name="T6" fmla="*/ 28 w 102"/>
                <a:gd name="T7" fmla="*/ 142 h 142"/>
                <a:gd name="T8" fmla="*/ 0 w 102"/>
                <a:gd name="T9" fmla="*/ 142 h 142"/>
                <a:gd name="T10" fmla="*/ 0 w 102"/>
                <a:gd name="T11" fmla="*/ 0 h 142"/>
                <a:gd name="T12" fmla="*/ 55 w 102"/>
                <a:gd name="T13" fmla="*/ 0 h 142"/>
                <a:gd name="T14" fmla="*/ 102 w 102"/>
                <a:gd name="T15" fmla="*/ 44 h 142"/>
                <a:gd name="T16" fmla="*/ 55 w 102"/>
                <a:gd name="T17" fmla="*/ 88 h 142"/>
                <a:gd name="T18" fmla="*/ 54 w 102"/>
                <a:gd name="T19" fmla="*/ 24 h 142"/>
                <a:gd name="T20" fmla="*/ 54 w 102"/>
                <a:gd name="T21" fmla="*/ 24 h 142"/>
                <a:gd name="T22" fmla="*/ 28 w 102"/>
                <a:gd name="T23" fmla="*/ 24 h 142"/>
                <a:gd name="T24" fmla="*/ 28 w 102"/>
                <a:gd name="T25" fmla="*/ 63 h 142"/>
                <a:gd name="T26" fmla="*/ 54 w 102"/>
                <a:gd name="T27" fmla="*/ 63 h 142"/>
                <a:gd name="T28" fmla="*/ 75 w 102"/>
                <a:gd name="T29" fmla="*/ 44 h 142"/>
                <a:gd name="T30" fmla="*/ 54 w 102"/>
                <a:gd name="T31" fmla="*/ 2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2" h="142">
                  <a:moveTo>
                    <a:pt x="55" y="88"/>
                  </a:moveTo>
                  <a:lnTo>
                    <a:pt x="55" y="88"/>
                  </a:lnTo>
                  <a:lnTo>
                    <a:pt x="28" y="88"/>
                  </a:lnTo>
                  <a:lnTo>
                    <a:pt x="28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55" y="0"/>
                  </a:lnTo>
                  <a:cubicBezTo>
                    <a:pt x="85" y="0"/>
                    <a:pt x="102" y="19"/>
                    <a:pt x="102" y="44"/>
                  </a:cubicBezTo>
                  <a:cubicBezTo>
                    <a:pt x="102" y="68"/>
                    <a:pt x="85" y="88"/>
                    <a:pt x="55" y="88"/>
                  </a:cubicBezTo>
                  <a:close/>
                  <a:moveTo>
                    <a:pt x="54" y="24"/>
                  </a:moveTo>
                  <a:lnTo>
                    <a:pt x="54" y="24"/>
                  </a:lnTo>
                  <a:lnTo>
                    <a:pt x="28" y="24"/>
                  </a:lnTo>
                  <a:lnTo>
                    <a:pt x="28" y="63"/>
                  </a:lnTo>
                  <a:lnTo>
                    <a:pt x="54" y="63"/>
                  </a:lnTo>
                  <a:cubicBezTo>
                    <a:pt x="67" y="63"/>
                    <a:pt x="75" y="55"/>
                    <a:pt x="75" y="44"/>
                  </a:cubicBezTo>
                  <a:cubicBezTo>
                    <a:pt x="75" y="32"/>
                    <a:pt x="67" y="24"/>
                    <a:pt x="54" y="2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0" name="Freeform 30"/>
            <p:cNvSpPr>
              <a:spLocks noEditPoints="1"/>
            </p:cNvSpPr>
            <p:nvPr/>
          </p:nvSpPr>
          <p:spPr bwMode="auto">
            <a:xfrm>
              <a:off x="3895725" y="-1457326"/>
              <a:ext cx="95250" cy="130175"/>
            </a:xfrm>
            <a:custGeom>
              <a:avLst/>
              <a:gdLst>
                <a:gd name="T0" fmla="*/ 92 w 106"/>
                <a:gd name="T1" fmla="*/ 128 h 144"/>
                <a:gd name="T2" fmla="*/ 92 w 106"/>
                <a:gd name="T3" fmla="*/ 128 h 144"/>
                <a:gd name="T4" fmla="*/ 53 w 106"/>
                <a:gd name="T5" fmla="*/ 144 h 144"/>
                <a:gd name="T6" fmla="*/ 15 w 106"/>
                <a:gd name="T7" fmla="*/ 128 h 144"/>
                <a:gd name="T8" fmla="*/ 1 w 106"/>
                <a:gd name="T9" fmla="*/ 71 h 144"/>
                <a:gd name="T10" fmla="*/ 15 w 106"/>
                <a:gd name="T11" fmla="*/ 15 h 144"/>
                <a:gd name="T12" fmla="*/ 53 w 106"/>
                <a:gd name="T13" fmla="*/ 0 h 144"/>
                <a:gd name="T14" fmla="*/ 92 w 106"/>
                <a:gd name="T15" fmla="*/ 15 h 144"/>
                <a:gd name="T16" fmla="*/ 106 w 106"/>
                <a:gd name="T17" fmla="*/ 71 h 144"/>
                <a:gd name="T18" fmla="*/ 92 w 106"/>
                <a:gd name="T19" fmla="*/ 128 h 144"/>
                <a:gd name="T20" fmla="*/ 71 w 106"/>
                <a:gd name="T21" fmla="*/ 31 h 144"/>
                <a:gd name="T22" fmla="*/ 71 w 106"/>
                <a:gd name="T23" fmla="*/ 31 h 144"/>
                <a:gd name="T24" fmla="*/ 53 w 106"/>
                <a:gd name="T25" fmla="*/ 24 h 144"/>
                <a:gd name="T26" fmla="*/ 35 w 106"/>
                <a:gd name="T27" fmla="*/ 31 h 144"/>
                <a:gd name="T28" fmla="*/ 29 w 106"/>
                <a:gd name="T29" fmla="*/ 71 h 144"/>
                <a:gd name="T30" fmla="*/ 35 w 106"/>
                <a:gd name="T31" fmla="*/ 111 h 144"/>
                <a:gd name="T32" fmla="*/ 53 w 106"/>
                <a:gd name="T33" fmla="*/ 119 h 144"/>
                <a:gd name="T34" fmla="*/ 71 w 106"/>
                <a:gd name="T35" fmla="*/ 111 h 144"/>
                <a:gd name="T36" fmla="*/ 78 w 106"/>
                <a:gd name="T37" fmla="*/ 71 h 144"/>
                <a:gd name="T38" fmla="*/ 71 w 106"/>
                <a:gd name="T39" fmla="*/ 31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6" h="144">
                  <a:moveTo>
                    <a:pt x="92" y="128"/>
                  </a:moveTo>
                  <a:lnTo>
                    <a:pt x="92" y="128"/>
                  </a:lnTo>
                  <a:cubicBezTo>
                    <a:pt x="82" y="138"/>
                    <a:pt x="70" y="144"/>
                    <a:pt x="53" y="144"/>
                  </a:cubicBezTo>
                  <a:cubicBezTo>
                    <a:pt x="37" y="144"/>
                    <a:pt x="25" y="138"/>
                    <a:pt x="15" y="128"/>
                  </a:cubicBezTo>
                  <a:cubicBezTo>
                    <a:pt x="0" y="114"/>
                    <a:pt x="1" y="96"/>
                    <a:pt x="1" y="71"/>
                  </a:cubicBezTo>
                  <a:cubicBezTo>
                    <a:pt x="1" y="47"/>
                    <a:pt x="0" y="29"/>
                    <a:pt x="15" y="15"/>
                  </a:cubicBezTo>
                  <a:cubicBezTo>
                    <a:pt x="25" y="5"/>
                    <a:pt x="37" y="0"/>
                    <a:pt x="53" y="0"/>
                  </a:cubicBezTo>
                  <a:cubicBezTo>
                    <a:pt x="70" y="0"/>
                    <a:pt x="82" y="5"/>
                    <a:pt x="92" y="15"/>
                  </a:cubicBezTo>
                  <a:cubicBezTo>
                    <a:pt x="106" y="29"/>
                    <a:pt x="106" y="47"/>
                    <a:pt x="106" y="71"/>
                  </a:cubicBezTo>
                  <a:cubicBezTo>
                    <a:pt x="106" y="96"/>
                    <a:pt x="106" y="114"/>
                    <a:pt x="92" y="128"/>
                  </a:cubicBezTo>
                  <a:close/>
                  <a:moveTo>
                    <a:pt x="71" y="31"/>
                  </a:moveTo>
                  <a:lnTo>
                    <a:pt x="71" y="31"/>
                  </a:lnTo>
                  <a:cubicBezTo>
                    <a:pt x="67" y="27"/>
                    <a:pt x="61" y="24"/>
                    <a:pt x="53" y="24"/>
                  </a:cubicBezTo>
                  <a:cubicBezTo>
                    <a:pt x="46" y="24"/>
                    <a:pt x="39" y="27"/>
                    <a:pt x="35" y="31"/>
                  </a:cubicBezTo>
                  <a:cubicBezTo>
                    <a:pt x="30" y="37"/>
                    <a:pt x="29" y="44"/>
                    <a:pt x="29" y="71"/>
                  </a:cubicBezTo>
                  <a:cubicBezTo>
                    <a:pt x="29" y="99"/>
                    <a:pt x="30" y="105"/>
                    <a:pt x="35" y="111"/>
                  </a:cubicBezTo>
                  <a:cubicBezTo>
                    <a:pt x="39" y="116"/>
                    <a:pt x="46" y="119"/>
                    <a:pt x="53" y="119"/>
                  </a:cubicBezTo>
                  <a:cubicBezTo>
                    <a:pt x="61" y="119"/>
                    <a:pt x="67" y="116"/>
                    <a:pt x="71" y="111"/>
                  </a:cubicBezTo>
                  <a:cubicBezTo>
                    <a:pt x="77" y="105"/>
                    <a:pt x="78" y="99"/>
                    <a:pt x="78" y="71"/>
                  </a:cubicBezTo>
                  <a:cubicBezTo>
                    <a:pt x="78" y="44"/>
                    <a:pt x="77" y="37"/>
                    <a:pt x="71" y="3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1" name="Freeform 31"/>
            <p:cNvSpPr>
              <a:spLocks noEditPoints="1"/>
            </p:cNvSpPr>
            <p:nvPr/>
          </p:nvSpPr>
          <p:spPr bwMode="auto">
            <a:xfrm>
              <a:off x="4016375" y="-1457326"/>
              <a:ext cx="95250" cy="128588"/>
            </a:xfrm>
            <a:custGeom>
              <a:avLst/>
              <a:gdLst>
                <a:gd name="T0" fmla="*/ 75 w 107"/>
                <a:gd name="T1" fmla="*/ 142 h 142"/>
                <a:gd name="T2" fmla="*/ 75 w 107"/>
                <a:gd name="T3" fmla="*/ 142 h 142"/>
                <a:gd name="T4" fmla="*/ 47 w 107"/>
                <a:gd name="T5" fmla="*/ 85 h 142"/>
                <a:gd name="T6" fmla="*/ 27 w 107"/>
                <a:gd name="T7" fmla="*/ 85 h 142"/>
                <a:gd name="T8" fmla="*/ 27 w 107"/>
                <a:gd name="T9" fmla="*/ 142 h 142"/>
                <a:gd name="T10" fmla="*/ 0 w 107"/>
                <a:gd name="T11" fmla="*/ 142 h 142"/>
                <a:gd name="T12" fmla="*/ 0 w 107"/>
                <a:gd name="T13" fmla="*/ 0 h 142"/>
                <a:gd name="T14" fmla="*/ 55 w 107"/>
                <a:gd name="T15" fmla="*/ 0 h 142"/>
                <a:gd name="T16" fmla="*/ 102 w 107"/>
                <a:gd name="T17" fmla="*/ 43 h 142"/>
                <a:gd name="T18" fmla="*/ 76 w 107"/>
                <a:gd name="T19" fmla="*/ 80 h 142"/>
                <a:gd name="T20" fmla="*/ 107 w 107"/>
                <a:gd name="T21" fmla="*/ 142 h 142"/>
                <a:gd name="T22" fmla="*/ 75 w 107"/>
                <a:gd name="T23" fmla="*/ 142 h 142"/>
                <a:gd name="T24" fmla="*/ 54 w 107"/>
                <a:gd name="T25" fmla="*/ 24 h 142"/>
                <a:gd name="T26" fmla="*/ 54 w 107"/>
                <a:gd name="T27" fmla="*/ 24 h 142"/>
                <a:gd name="T28" fmla="*/ 27 w 107"/>
                <a:gd name="T29" fmla="*/ 24 h 142"/>
                <a:gd name="T30" fmla="*/ 27 w 107"/>
                <a:gd name="T31" fmla="*/ 62 h 142"/>
                <a:gd name="T32" fmla="*/ 54 w 107"/>
                <a:gd name="T33" fmla="*/ 62 h 142"/>
                <a:gd name="T34" fmla="*/ 74 w 107"/>
                <a:gd name="T35" fmla="*/ 43 h 142"/>
                <a:gd name="T36" fmla="*/ 54 w 107"/>
                <a:gd name="T37" fmla="*/ 2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7" h="142">
                  <a:moveTo>
                    <a:pt x="75" y="142"/>
                  </a:moveTo>
                  <a:lnTo>
                    <a:pt x="75" y="142"/>
                  </a:lnTo>
                  <a:lnTo>
                    <a:pt x="47" y="85"/>
                  </a:lnTo>
                  <a:lnTo>
                    <a:pt x="27" y="85"/>
                  </a:lnTo>
                  <a:lnTo>
                    <a:pt x="27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55" y="0"/>
                  </a:lnTo>
                  <a:cubicBezTo>
                    <a:pt x="84" y="0"/>
                    <a:pt x="102" y="19"/>
                    <a:pt x="102" y="43"/>
                  </a:cubicBezTo>
                  <a:cubicBezTo>
                    <a:pt x="102" y="63"/>
                    <a:pt x="89" y="75"/>
                    <a:pt x="76" y="80"/>
                  </a:cubicBezTo>
                  <a:lnTo>
                    <a:pt x="107" y="142"/>
                  </a:lnTo>
                  <a:lnTo>
                    <a:pt x="75" y="142"/>
                  </a:lnTo>
                  <a:close/>
                  <a:moveTo>
                    <a:pt x="54" y="24"/>
                  </a:moveTo>
                  <a:lnTo>
                    <a:pt x="54" y="24"/>
                  </a:lnTo>
                  <a:lnTo>
                    <a:pt x="27" y="24"/>
                  </a:lnTo>
                  <a:lnTo>
                    <a:pt x="27" y="62"/>
                  </a:lnTo>
                  <a:lnTo>
                    <a:pt x="54" y="62"/>
                  </a:lnTo>
                  <a:cubicBezTo>
                    <a:pt x="66" y="62"/>
                    <a:pt x="74" y="54"/>
                    <a:pt x="74" y="43"/>
                  </a:cubicBezTo>
                  <a:cubicBezTo>
                    <a:pt x="74" y="32"/>
                    <a:pt x="66" y="24"/>
                    <a:pt x="54" y="2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2" name="Freeform 32"/>
            <p:cNvSpPr>
              <a:spLocks/>
            </p:cNvSpPr>
            <p:nvPr/>
          </p:nvSpPr>
          <p:spPr bwMode="auto">
            <a:xfrm>
              <a:off x="4122738" y="-1457326"/>
              <a:ext cx="92075" cy="128588"/>
            </a:xfrm>
            <a:custGeom>
              <a:avLst/>
              <a:gdLst>
                <a:gd name="T0" fmla="*/ 0 w 103"/>
                <a:gd name="T1" fmla="*/ 0 h 142"/>
                <a:gd name="T2" fmla="*/ 0 w 103"/>
                <a:gd name="T3" fmla="*/ 0 h 142"/>
                <a:gd name="T4" fmla="*/ 0 w 103"/>
                <a:gd name="T5" fmla="*/ 24 h 142"/>
                <a:gd name="T6" fmla="*/ 38 w 103"/>
                <a:gd name="T7" fmla="*/ 24 h 142"/>
                <a:gd name="T8" fmla="*/ 38 w 103"/>
                <a:gd name="T9" fmla="*/ 142 h 142"/>
                <a:gd name="T10" fmla="*/ 65 w 103"/>
                <a:gd name="T11" fmla="*/ 142 h 142"/>
                <a:gd name="T12" fmla="*/ 65 w 103"/>
                <a:gd name="T13" fmla="*/ 24 h 142"/>
                <a:gd name="T14" fmla="*/ 103 w 103"/>
                <a:gd name="T15" fmla="*/ 24 h 142"/>
                <a:gd name="T16" fmla="*/ 103 w 103"/>
                <a:gd name="T17" fmla="*/ 0 h 142"/>
                <a:gd name="T18" fmla="*/ 0 w 103"/>
                <a:gd name="T19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142">
                  <a:moveTo>
                    <a:pt x="0" y="0"/>
                  </a:moveTo>
                  <a:lnTo>
                    <a:pt x="0" y="0"/>
                  </a:lnTo>
                  <a:lnTo>
                    <a:pt x="0" y="24"/>
                  </a:lnTo>
                  <a:lnTo>
                    <a:pt x="38" y="24"/>
                  </a:lnTo>
                  <a:lnTo>
                    <a:pt x="38" y="142"/>
                  </a:lnTo>
                  <a:lnTo>
                    <a:pt x="65" y="142"/>
                  </a:lnTo>
                  <a:lnTo>
                    <a:pt x="65" y="24"/>
                  </a:lnTo>
                  <a:lnTo>
                    <a:pt x="103" y="24"/>
                  </a:lnTo>
                  <a:lnTo>
                    <a:pt x="103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53" name="Emptying Blue text"/>
          <p:cNvGrpSpPr/>
          <p:nvPr/>
        </p:nvGrpSpPr>
        <p:grpSpPr>
          <a:xfrm>
            <a:off x="2982059" y="1637712"/>
            <a:ext cx="690552" cy="106039"/>
            <a:chOff x="2265363" y="-819151"/>
            <a:chExt cx="847725" cy="130175"/>
          </a:xfrm>
          <a:solidFill>
            <a:schemeClr val="accent3">
              <a:lumMod val="75000"/>
            </a:schemeClr>
          </a:solidFill>
        </p:grpSpPr>
        <p:sp>
          <p:nvSpPr>
            <p:cNvPr id="254" name="Freeform 16"/>
            <p:cNvSpPr>
              <a:spLocks/>
            </p:cNvSpPr>
            <p:nvPr/>
          </p:nvSpPr>
          <p:spPr bwMode="auto">
            <a:xfrm>
              <a:off x="2265363" y="-819151"/>
              <a:ext cx="84138" cy="128588"/>
            </a:xfrm>
            <a:custGeom>
              <a:avLst/>
              <a:gdLst>
                <a:gd name="T0" fmla="*/ 0 w 94"/>
                <a:gd name="T1" fmla="*/ 142 h 142"/>
                <a:gd name="T2" fmla="*/ 0 w 94"/>
                <a:gd name="T3" fmla="*/ 142 h 142"/>
                <a:gd name="T4" fmla="*/ 0 w 94"/>
                <a:gd name="T5" fmla="*/ 0 h 142"/>
                <a:gd name="T6" fmla="*/ 94 w 94"/>
                <a:gd name="T7" fmla="*/ 0 h 142"/>
                <a:gd name="T8" fmla="*/ 94 w 94"/>
                <a:gd name="T9" fmla="*/ 25 h 142"/>
                <a:gd name="T10" fmla="*/ 28 w 94"/>
                <a:gd name="T11" fmla="*/ 25 h 142"/>
                <a:gd name="T12" fmla="*/ 28 w 94"/>
                <a:gd name="T13" fmla="*/ 58 h 142"/>
                <a:gd name="T14" fmla="*/ 84 w 94"/>
                <a:gd name="T15" fmla="*/ 58 h 142"/>
                <a:gd name="T16" fmla="*/ 84 w 94"/>
                <a:gd name="T17" fmla="*/ 83 h 142"/>
                <a:gd name="T18" fmla="*/ 28 w 94"/>
                <a:gd name="T19" fmla="*/ 83 h 142"/>
                <a:gd name="T20" fmla="*/ 28 w 94"/>
                <a:gd name="T21" fmla="*/ 118 h 142"/>
                <a:gd name="T22" fmla="*/ 94 w 94"/>
                <a:gd name="T23" fmla="*/ 118 h 142"/>
                <a:gd name="T24" fmla="*/ 94 w 94"/>
                <a:gd name="T25" fmla="*/ 142 h 142"/>
                <a:gd name="T26" fmla="*/ 0 w 94"/>
                <a:gd name="T27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4" h="142">
                  <a:moveTo>
                    <a:pt x="0" y="142"/>
                  </a:moveTo>
                  <a:lnTo>
                    <a:pt x="0" y="142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25"/>
                  </a:lnTo>
                  <a:lnTo>
                    <a:pt x="28" y="25"/>
                  </a:lnTo>
                  <a:lnTo>
                    <a:pt x="28" y="58"/>
                  </a:lnTo>
                  <a:lnTo>
                    <a:pt x="84" y="58"/>
                  </a:lnTo>
                  <a:lnTo>
                    <a:pt x="84" y="83"/>
                  </a:lnTo>
                  <a:lnTo>
                    <a:pt x="28" y="83"/>
                  </a:lnTo>
                  <a:lnTo>
                    <a:pt x="28" y="118"/>
                  </a:lnTo>
                  <a:lnTo>
                    <a:pt x="94" y="118"/>
                  </a:lnTo>
                  <a:lnTo>
                    <a:pt x="94" y="142"/>
                  </a:lnTo>
                  <a:lnTo>
                    <a:pt x="0" y="1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5" name="Freeform 17"/>
            <p:cNvSpPr>
              <a:spLocks/>
            </p:cNvSpPr>
            <p:nvPr/>
          </p:nvSpPr>
          <p:spPr bwMode="auto">
            <a:xfrm>
              <a:off x="2371725" y="-819151"/>
              <a:ext cx="115888" cy="128588"/>
            </a:xfrm>
            <a:custGeom>
              <a:avLst/>
              <a:gdLst>
                <a:gd name="T0" fmla="*/ 101 w 129"/>
                <a:gd name="T1" fmla="*/ 142 h 142"/>
                <a:gd name="T2" fmla="*/ 101 w 129"/>
                <a:gd name="T3" fmla="*/ 142 h 142"/>
                <a:gd name="T4" fmla="*/ 101 w 129"/>
                <a:gd name="T5" fmla="*/ 59 h 142"/>
                <a:gd name="T6" fmla="*/ 74 w 129"/>
                <a:gd name="T7" fmla="*/ 113 h 142"/>
                <a:gd name="T8" fmla="*/ 55 w 129"/>
                <a:gd name="T9" fmla="*/ 113 h 142"/>
                <a:gd name="T10" fmla="*/ 28 w 129"/>
                <a:gd name="T11" fmla="*/ 59 h 142"/>
                <a:gd name="T12" fmla="*/ 28 w 129"/>
                <a:gd name="T13" fmla="*/ 142 h 142"/>
                <a:gd name="T14" fmla="*/ 0 w 129"/>
                <a:gd name="T15" fmla="*/ 142 h 142"/>
                <a:gd name="T16" fmla="*/ 0 w 129"/>
                <a:gd name="T17" fmla="*/ 0 h 142"/>
                <a:gd name="T18" fmla="*/ 27 w 129"/>
                <a:gd name="T19" fmla="*/ 0 h 142"/>
                <a:gd name="T20" fmla="*/ 64 w 129"/>
                <a:gd name="T21" fmla="*/ 77 h 142"/>
                <a:gd name="T22" fmla="*/ 101 w 129"/>
                <a:gd name="T23" fmla="*/ 0 h 142"/>
                <a:gd name="T24" fmla="*/ 129 w 129"/>
                <a:gd name="T25" fmla="*/ 0 h 142"/>
                <a:gd name="T26" fmla="*/ 129 w 129"/>
                <a:gd name="T27" fmla="*/ 142 h 142"/>
                <a:gd name="T28" fmla="*/ 101 w 129"/>
                <a:gd name="T2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9" h="142">
                  <a:moveTo>
                    <a:pt x="101" y="142"/>
                  </a:moveTo>
                  <a:lnTo>
                    <a:pt x="101" y="142"/>
                  </a:lnTo>
                  <a:lnTo>
                    <a:pt x="101" y="59"/>
                  </a:lnTo>
                  <a:lnTo>
                    <a:pt x="74" y="113"/>
                  </a:lnTo>
                  <a:lnTo>
                    <a:pt x="55" y="113"/>
                  </a:lnTo>
                  <a:lnTo>
                    <a:pt x="28" y="59"/>
                  </a:lnTo>
                  <a:lnTo>
                    <a:pt x="28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27" y="0"/>
                  </a:lnTo>
                  <a:lnTo>
                    <a:pt x="64" y="77"/>
                  </a:lnTo>
                  <a:lnTo>
                    <a:pt x="101" y="0"/>
                  </a:lnTo>
                  <a:lnTo>
                    <a:pt x="129" y="0"/>
                  </a:lnTo>
                  <a:lnTo>
                    <a:pt x="129" y="142"/>
                  </a:lnTo>
                  <a:lnTo>
                    <a:pt x="101" y="1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6" name="Freeform 18"/>
            <p:cNvSpPr>
              <a:spLocks noEditPoints="1"/>
            </p:cNvSpPr>
            <p:nvPr/>
          </p:nvSpPr>
          <p:spPr bwMode="auto">
            <a:xfrm>
              <a:off x="2516188" y="-819151"/>
              <a:ext cx="90488" cy="128588"/>
            </a:xfrm>
            <a:custGeom>
              <a:avLst/>
              <a:gdLst>
                <a:gd name="T0" fmla="*/ 55 w 102"/>
                <a:gd name="T1" fmla="*/ 89 h 142"/>
                <a:gd name="T2" fmla="*/ 55 w 102"/>
                <a:gd name="T3" fmla="*/ 89 h 142"/>
                <a:gd name="T4" fmla="*/ 28 w 102"/>
                <a:gd name="T5" fmla="*/ 89 h 142"/>
                <a:gd name="T6" fmla="*/ 28 w 102"/>
                <a:gd name="T7" fmla="*/ 142 h 142"/>
                <a:gd name="T8" fmla="*/ 0 w 102"/>
                <a:gd name="T9" fmla="*/ 142 h 142"/>
                <a:gd name="T10" fmla="*/ 0 w 102"/>
                <a:gd name="T11" fmla="*/ 0 h 142"/>
                <a:gd name="T12" fmla="*/ 55 w 102"/>
                <a:gd name="T13" fmla="*/ 0 h 142"/>
                <a:gd name="T14" fmla="*/ 102 w 102"/>
                <a:gd name="T15" fmla="*/ 44 h 142"/>
                <a:gd name="T16" fmla="*/ 55 w 102"/>
                <a:gd name="T17" fmla="*/ 89 h 142"/>
                <a:gd name="T18" fmla="*/ 54 w 102"/>
                <a:gd name="T19" fmla="*/ 25 h 142"/>
                <a:gd name="T20" fmla="*/ 54 w 102"/>
                <a:gd name="T21" fmla="*/ 25 h 142"/>
                <a:gd name="T22" fmla="*/ 28 w 102"/>
                <a:gd name="T23" fmla="*/ 25 h 142"/>
                <a:gd name="T24" fmla="*/ 28 w 102"/>
                <a:gd name="T25" fmla="*/ 64 h 142"/>
                <a:gd name="T26" fmla="*/ 54 w 102"/>
                <a:gd name="T27" fmla="*/ 64 h 142"/>
                <a:gd name="T28" fmla="*/ 74 w 102"/>
                <a:gd name="T29" fmla="*/ 44 h 142"/>
                <a:gd name="T30" fmla="*/ 54 w 102"/>
                <a:gd name="T31" fmla="*/ 2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2" h="142">
                  <a:moveTo>
                    <a:pt x="55" y="89"/>
                  </a:moveTo>
                  <a:lnTo>
                    <a:pt x="55" y="89"/>
                  </a:lnTo>
                  <a:lnTo>
                    <a:pt x="28" y="89"/>
                  </a:lnTo>
                  <a:lnTo>
                    <a:pt x="28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55" y="0"/>
                  </a:lnTo>
                  <a:cubicBezTo>
                    <a:pt x="84" y="0"/>
                    <a:pt x="102" y="20"/>
                    <a:pt x="102" y="44"/>
                  </a:cubicBezTo>
                  <a:cubicBezTo>
                    <a:pt x="102" y="68"/>
                    <a:pt x="84" y="89"/>
                    <a:pt x="55" y="89"/>
                  </a:cubicBezTo>
                  <a:close/>
                  <a:moveTo>
                    <a:pt x="54" y="25"/>
                  </a:moveTo>
                  <a:lnTo>
                    <a:pt x="54" y="25"/>
                  </a:lnTo>
                  <a:lnTo>
                    <a:pt x="28" y="25"/>
                  </a:lnTo>
                  <a:lnTo>
                    <a:pt x="28" y="64"/>
                  </a:lnTo>
                  <a:lnTo>
                    <a:pt x="54" y="64"/>
                  </a:lnTo>
                  <a:cubicBezTo>
                    <a:pt x="66" y="64"/>
                    <a:pt x="74" y="56"/>
                    <a:pt x="74" y="44"/>
                  </a:cubicBezTo>
                  <a:cubicBezTo>
                    <a:pt x="74" y="33"/>
                    <a:pt x="66" y="25"/>
                    <a:pt x="54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7" name="Freeform 19"/>
            <p:cNvSpPr>
              <a:spLocks/>
            </p:cNvSpPr>
            <p:nvPr/>
          </p:nvSpPr>
          <p:spPr bwMode="auto">
            <a:xfrm>
              <a:off x="2620963" y="-819151"/>
              <a:ext cx="90488" cy="128588"/>
            </a:xfrm>
            <a:custGeom>
              <a:avLst/>
              <a:gdLst>
                <a:gd name="T0" fmla="*/ 65 w 102"/>
                <a:gd name="T1" fmla="*/ 25 h 142"/>
                <a:gd name="T2" fmla="*/ 65 w 102"/>
                <a:gd name="T3" fmla="*/ 25 h 142"/>
                <a:gd name="T4" fmla="*/ 65 w 102"/>
                <a:gd name="T5" fmla="*/ 142 h 142"/>
                <a:gd name="T6" fmla="*/ 37 w 102"/>
                <a:gd name="T7" fmla="*/ 142 h 142"/>
                <a:gd name="T8" fmla="*/ 37 w 102"/>
                <a:gd name="T9" fmla="*/ 25 h 142"/>
                <a:gd name="T10" fmla="*/ 0 w 102"/>
                <a:gd name="T11" fmla="*/ 25 h 142"/>
                <a:gd name="T12" fmla="*/ 0 w 102"/>
                <a:gd name="T13" fmla="*/ 0 h 142"/>
                <a:gd name="T14" fmla="*/ 102 w 102"/>
                <a:gd name="T15" fmla="*/ 0 h 142"/>
                <a:gd name="T16" fmla="*/ 102 w 102"/>
                <a:gd name="T17" fmla="*/ 25 h 142"/>
                <a:gd name="T18" fmla="*/ 65 w 102"/>
                <a:gd name="T19" fmla="*/ 2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42">
                  <a:moveTo>
                    <a:pt x="65" y="25"/>
                  </a:moveTo>
                  <a:lnTo>
                    <a:pt x="65" y="25"/>
                  </a:lnTo>
                  <a:lnTo>
                    <a:pt x="65" y="142"/>
                  </a:lnTo>
                  <a:lnTo>
                    <a:pt x="37" y="142"/>
                  </a:lnTo>
                  <a:lnTo>
                    <a:pt x="37" y="25"/>
                  </a:lnTo>
                  <a:lnTo>
                    <a:pt x="0" y="25"/>
                  </a:lnTo>
                  <a:lnTo>
                    <a:pt x="0" y="0"/>
                  </a:lnTo>
                  <a:lnTo>
                    <a:pt x="102" y="0"/>
                  </a:lnTo>
                  <a:lnTo>
                    <a:pt x="102" y="25"/>
                  </a:lnTo>
                  <a:lnTo>
                    <a:pt x="65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8" name="Freeform 20"/>
            <p:cNvSpPr>
              <a:spLocks/>
            </p:cNvSpPr>
            <p:nvPr/>
          </p:nvSpPr>
          <p:spPr bwMode="auto">
            <a:xfrm>
              <a:off x="2725738" y="-819151"/>
              <a:ext cx="100013" cy="128588"/>
            </a:xfrm>
            <a:custGeom>
              <a:avLst/>
              <a:gdLst>
                <a:gd name="T0" fmla="*/ 70 w 113"/>
                <a:gd name="T1" fmla="*/ 84 h 142"/>
                <a:gd name="T2" fmla="*/ 70 w 113"/>
                <a:gd name="T3" fmla="*/ 84 h 142"/>
                <a:gd name="T4" fmla="*/ 70 w 113"/>
                <a:gd name="T5" fmla="*/ 142 h 142"/>
                <a:gd name="T6" fmla="*/ 43 w 113"/>
                <a:gd name="T7" fmla="*/ 142 h 142"/>
                <a:gd name="T8" fmla="*/ 43 w 113"/>
                <a:gd name="T9" fmla="*/ 84 h 142"/>
                <a:gd name="T10" fmla="*/ 0 w 113"/>
                <a:gd name="T11" fmla="*/ 0 h 142"/>
                <a:gd name="T12" fmla="*/ 30 w 113"/>
                <a:gd name="T13" fmla="*/ 0 h 142"/>
                <a:gd name="T14" fmla="*/ 57 w 113"/>
                <a:gd name="T15" fmla="*/ 57 h 142"/>
                <a:gd name="T16" fmla="*/ 83 w 113"/>
                <a:gd name="T17" fmla="*/ 0 h 142"/>
                <a:gd name="T18" fmla="*/ 113 w 113"/>
                <a:gd name="T19" fmla="*/ 0 h 142"/>
                <a:gd name="T20" fmla="*/ 70 w 113"/>
                <a:gd name="T21" fmla="*/ 84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3" h="142">
                  <a:moveTo>
                    <a:pt x="70" y="84"/>
                  </a:moveTo>
                  <a:lnTo>
                    <a:pt x="70" y="84"/>
                  </a:lnTo>
                  <a:lnTo>
                    <a:pt x="70" y="142"/>
                  </a:lnTo>
                  <a:lnTo>
                    <a:pt x="43" y="142"/>
                  </a:lnTo>
                  <a:lnTo>
                    <a:pt x="43" y="84"/>
                  </a:lnTo>
                  <a:lnTo>
                    <a:pt x="0" y="0"/>
                  </a:lnTo>
                  <a:lnTo>
                    <a:pt x="30" y="0"/>
                  </a:lnTo>
                  <a:lnTo>
                    <a:pt x="57" y="57"/>
                  </a:lnTo>
                  <a:lnTo>
                    <a:pt x="83" y="0"/>
                  </a:lnTo>
                  <a:lnTo>
                    <a:pt x="113" y="0"/>
                  </a:lnTo>
                  <a:lnTo>
                    <a:pt x="70" y="8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9" name="Freeform 21"/>
            <p:cNvSpPr>
              <a:spLocks/>
            </p:cNvSpPr>
            <p:nvPr/>
          </p:nvSpPr>
          <p:spPr bwMode="auto">
            <a:xfrm>
              <a:off x="2843213" y="-819151"/>
              <a:ext cx="25400" cy="128588"/>
            </a:xfrm>
            <a:custGeom>
              <a:avLst/>
              <a:gdLst>
                <a:gd name="T0" fmla="*/ 0 w 28"/>
                <a:gd name="T1" fmla="*/ 0 h 142"/>
                <a:gd name="T2" fmla="*/ 0 w 28"/>
                <a:gd name="T3" fmla="*/ 0 h 142"/>
                <a:gd name="T4" fmla="*/ 28 w 28"/>
                <a:gd name="T5" fmla="*/ 0 h 142"/>
                <a:gd name="T6" fmla="*/ 28 w 28"/>
                <a:gd name="T7" fmla="*/ 142 h 142"/>
                <a:gd name="T8" fmla="*/ 0 w 28"/>
                <a:gd name="T9" fmla="*/ 142 h 142"/>
                <a:gd name="T10" fmla="*/ 0 w 28"/>
                <a:gd name="T11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142">
                  <a:moveTo>
                    <a:pt x="0" y="0"/>
                  </a:moveTo>
                  <a:lnTo>
                    <a:pt x="0" y="0"/>
                  </a:lnTo>
                  <a:lnTo>
                    <a:pt x="28" y="0"/>
                  </a:lnTo>
                  <a:lnTo>
                    <a:pt x="28" y="142"/>
                  </a:lnTo>
                  <a:lnTo>
                    <a:pt x="0" y="14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0" name="Freeform 22"/>
            <p:cNvSpPr>
              <a:spLocks/>
            </p:cNvSpPr>
            <p:nvPr/>
          </p:nvSpPr>
          <p:spPr bwMode="auto">
            <a:xfrm>
              <a:off x="2897188" y="-819151"/>
              <a:ext cx="96838" cy="128588"/>
            </a:xfrm>
            <a:custGeom>
              <a:avLst/>
              <a:gdLst>
                <a:gd name="T0" fmla="*/ 84 w 109"/>
                <a:gd name="T1" fmla="*/ 142 h 142"/>
                <a:gd name="T2" fmla="*/ 84 w 109"/>
                <a:gd name="T3" fmla="*/ 142 h 142"/>
                <a:gd name="T4" fmla="*/ 28 w 109"/>
                <a:gd name="T5" fmla="*/ 55 h 142"/>
                <a:gd name="T6" fmla="*/ 28 w 109"/>
                <a:gd name="T7" fmla="*/ 142 h 142"/>
                <a:gd name="T8" fmla="*/ 0 w 109"/>
                <a:gd name="T9" fmla="*/ 142 h 142"/>
                <a:gd name="T10" fmla="*/ 0 w 109"/>
                <a:gd name="T11" fmla="*/ 0 h 142"/>
                <a:gd name="T12" fmla="*/ 25 w 109"/>
                <a:gd name="T13" fmla="*/ 0 h 142"/>
                <a:gd name="T14" fmla="*/ 81 w 109"/>
                <a:gd name="T15" fmla="*/ 87 h 142"/>
                <a:gd name="T16" fmla="*/ 81 w 109"/>
                <a:gd name="T17" fmla="*/ 0 h 142"/>
                <a:gd name="T18" fmla="*/ 109 w 109"/>
                <a:gd name="T19" fmla="*/ 0 h 142"/>
                <a:gd name="T20" fmla="*/ 109 w 109"/>
                <a:gd name="T21" fmla="*/ 142 h 142"/>
                <a:gd name="T22" fmla="*/ 84 w 109"/>
                <a:gd name="T23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142">
                  <a:moveTo>
                    <a:pt x="84" y="142"/>
                  </a:moveTo>
                  <a:lnTo>
                    <a:pt x="84" y="142"/>
                  </a:lnTo>
                  <a:lnTo>
                    <a:pt x="28" y="55"/>
                  </a:lnTo>
                  <a:lnTo>
                    <a:pt x="28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25" y="0"/>
                  </a:lnTo>
                  <a:lnTo>
                    <a:pt x="81" y="87"/>
                  </a:lnTo>
                  <a:lnTo>
                    <a:pt x="81" y="0"/>
                  </a:lnTo>
                  <a:lnTo>
                    <a:pt x="109" y="0"/>
                  </a:lnTo>
                  <a:lnTo>
                    <a:pt x="109" y="142"/>
                  </a:lnTo>
                  <a:lnTo>
                    <a:pt x="84" y="1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1" name="Freeform 23"/>
            <p:cNvSpPr>
              <a:spLocks/>
            </p:cNvSpPr>
            <p:nvPr/>
          </p:nvSpPr>
          <p:spPr bwMode="auto">
            <a:xfrm>
              <a:off x="3017838" y="-819151"/>
              <a:ext cx="95250" cy="130175"/>
            </a:xfrm>
            <a:custGeom>
              <a:avLst/>
              <a:gdLst>
                <a:gd name="T0" fmla="*/ 93 w 107"/>
                <a:gd name="T1" fmla="*/ 128 h 145"/>
                <a:gd name="T2" fmla="*/ 93 w 107"/>
                <a:gd name="T3" fmla="*/ 128 h 145"/>
                <a:gd name="T4" fmla="*/ 53 w 107"/>
                <a:gd name="T5" fmla="*/ 145 h 145"/>
                <a:gd name="T6" fmla="*/ 15 w 107"/>
                <a:gd name="T7" fmla="*/ 129 h 145"/>
                <a:gd name="T8" fmla="*/ 1 w 107"/>
                <a:gd name="T9" fmla="*/ 72 h 145"/>
                <a:gd name="T10" fmla="*/ 15 w 107"/>
                <a:gd name="T11" fmla="*/ 15 h 145"/>
                <a:gd name="T12" fmla="*/ 53 w 107"/>
                <a:gd name="T13" fmla="*/ 0 h 145"/>
                <a:gd name="T14" fmla="*/ 107 w 107"/>
                <a:gd name="T15" fmla="*/ 45 h 145"/>
                <a:gd name="T16" fmla="*/ 79 w 107"/>
                <a:gd name="T17" fmla="*/ 45 h 145"/>
                <a:gd name="T18" fmla="*/ 53 w 107"/>
                <a:gd name="T19" fmla="*/ 25 h 145"/>
                <a:gd name="T20" fmla="*/ 35 w 107"/>
                <a:gd name="T21" fmla="*/ 32 h 145"/>
                <a:gd name="T22" fmla="*/ 29 w 107"/>
                <a:gd name="T23" fmla="*/ 72 h 145"/>
                <a:gd name="T24" fmla="*/ 35 w 107"/>
                <a:gd name="T25" fmla="*/ 112 h 145"/>
                <a:gd name="T26" fmla="*/ 53 w 107"/>
                <a:gd name="T27" fmla="*/ 120 h 145"/>
                <a:gd name="T28" fmla="*/ 73 w 107"/>
                <a:gd name="T29" fmla="*/ 112 h 145"/>
                <a:gd name="T30" fmla="*/ 79 w 107"/>
                <a:gd name="T31" fmla="*/ 93 h 145"/>
                <a:gd name="T32" fmla="*/ 79 w 107"/>
                <a:gd name="T33" fmla="*/ 87 h 145"/>
                <a:gd name="T34" fmla="*/ 53 w 107"/>
                <a:gd name="T35" fmla="*/ 87 h 145"/>
                <a:gd name="T36" fmla="*/ 53 w 107"/>
                <a:gd name="T37" fmla="*/ 64 h 145"/>
                <a:gd name="T38" fmla="*/ 107 w 107"/>
                <a:gd name="T39" fmla="*/ 64 h 145"/>
                <a:gd name="T40" fmla="*/ 107 w 107"/>
                <a:gd name="T41" fmla="*/ 85 h 145"/>
                <a:gd name="T42" fmla="*/ 93 w 107"/>
                <a:gd name="T43" fmla="*/ 128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7" h="145">
                  <a:moveTo>
                    <a:pt x="93" y="128"/>
                  </a:moveTo>
                  <a:lnTo>
                    <a:pt x="93" y="128"/>
                  </a:lnTo>
                  <a:cubicBezTo>
                    <a:pt x="82" y="140"/>
                    <a:pt x="68" y="145"/>
                    <a:pt x="53" y="145"/>
                  </a:cubicBezTo>
                  <a:cubicBezTo>
                    <a:pt x="38" y="145"/>
                    <a:pt x="25" y="139"/>
                    <a:pt x="15" y="129"/>
                  </a:cubicBezTo>
                  <a:cubicBezTo>
                    <a:pt x="0" y="115"/>
                    <a:pt x="1" y="97"/>
                    <a:pt x="1" y="72"/>
                  </a:cubicBezTo>
                  <a:cubicBezTo>
                    <a:pt x="1" y="48"/>
                    <a:pt x="0" y="30"/>
                    <a:pt x="15" y="15"/>
                  </a:cubicBezTo>
                  <a:cubicBezTo>
                    <a:pt x="25" y="5"/>
                    <a:pt x="37" y="0"/>
                    <a:pt x="53" y="0"/>
                  </a:cubicBezTo>
                  <a:cubicBezTo>
                    <a:pt x="86" y="0"/>
                    <a:pt x="103" y="21"/>
                    <a:pt x="107" y="45"/>
                  </a:cubicBezTo>
                  <a:lnTo>
                    <a:pt x="79" y="45"/>
                  </a:lnTo>
                  <a:cubicBezTo>
                    <a:pt x="76" y="32"/>
                    <a:pt x="67" y="25"/>
                    <a:pt x="53" y="25"/>
                  </a:cubicBezTo>
                  <a:cubicBezTo>
                    <a:pt x="46" y="25"/>
                    <a:pt x="39" y="28"/>
                    <a:pt x="35" y="32"/>
                  </a:cubicBezTo>
                  <a:cubicBezTo>
                    <a:pt x="30" y="38"/>
                    <a:pt x="29" y="45"/>
                    <a:pt x="29" y="72"/>
                  </a:cubicBezTo>
                  <a:cubicBezTo>
                    <a:pt x="29" y="100"/>
                    <a:pt x="30" y="106"/>
                    <a:pt x="35" y="112"/>
                  </a:cubicBezTo>
                  <a:cubicBezTo>
                    <a:pt x="39" y="117"/>
                    <a:pt x="46" y="120"/>
                    <a:pt x="53" y="120"/>
                  </a:cubicBezTo>
                  <a:cubicBezTo>
                    <a:pt x="62" y="120"/>
                    <a:pt x="68" y="117"/>
                    <a:pt x="73" y="112"/>
                  </a:cubicBezTo>
                  <a:cubicBezTo>
                    <a:pt x="78" y="107"/>
                    <a:pt x="79" y="100"/>
                    <a:pt x="79" y="93"/>
                  </a:cubicBezTo>
                  <a:lnTo>
                    <a:pt x="79" y="87"/>
                  </a:lnTo>
                  <a:lnTo>
                    <a:pt x="53" y="87"/>
                  </a:lnTo>
                  <a:lnTo>
                    <a:pt x="53" y="64"/>
                  </a:lnTo>
                  <a:lnTo>
                    <a:pt x="107" y="64"/>
                  </a:lnTo>
                  <a:lnTo>
                    <a:pt x="107" y="85"/>
                  </a:lnTo>
                  <a:cubicBezTo>
                    <a:pt x="107" y="106"/>
                    <a:pt x="103" y="118"/>
                    <a:pt x="93" y="12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06" name="Containment blue"/>
          <p:cNvSpPr/>
          <p:nvPr/>
        </p:nvSpPr>
        <p:spPr>
          <a:xfrm>
            <a:off x="1106424" y="1463039"/>
            <a:ext cx="1280160" cy="292779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15" name="Containment text Blue"/>
          <p:cNvGrpSpPr/>
          <p:nvPr/>
        </p:nvGrpSpPr>
        <p:grpSpPr>
          <a:xfrm>
            <a:off x="1258662" y="1637712"/>
            <a:ext cx="978930" cy="106039"/>
            <a:chOff x="85725" y="-819151"/>
            <a:chExt cx="1201738" cy="130175"/>
          </a:xfrm>
          <a:solidFill>
            <a:schemeClr val="accent3">
              <a:lumMod val="75000"/>
            </a:schemeClr>
          </a:solidFill>
        </p:grpSpPr>
        <p:sp>
          <p:nvSpPr>
            <p:cNvPr id="216" name="Freeform 5"/>
            <p:cNvSpPr>
              <a:spLocks/>
            </p:cNvSpPr>
            <p:nvPr/>
          </p:nvSpPr>
          <p:spPr bwMode="auto">
            <a:xfrm>
              <a:off x="85725" y="-819151"/>
              <a:ext cx="92075" cy="130175"/>
            </a:xfrm>
            <a:custGeom>
              <a:avLst/>
              <a:gdLst>
                <a:gd name="T0" fmla="*/ 52 w 104"/>
                <a:gd name="T1" fmla="*/ 144 h 144"/>
                <a:gd name="T2" fmla="*/ 52 w 104"/>
                <a:gd name="T3" fmla="*/ 144 h 144"/>
                <a:gd name="T4" fmla="*/ 14 w 104"/>
                <a:gd name="T5" fmla="*/ 129 h 144"/>
                <a:gd name="T6" fmla="*/ 0 w 104"/>
                <a:gd name="T7" fmla="*/ 72 h 144"/>
                <a:gd name="T8" fmla="*/ 14 w 104"/>
                <a:gd name="T9" fmla="*/ 15 h 144"/>
                <a:gd name="T10" fmla="*/ 52 w 104"/>
                <a:gd name="T11" fmla="*/ 0 h 144"/>
                <a:gd name="T12" fmla="*/ 104 w 104"/>
                <a:gd name="T13" fmla="*/ 45 h 144"/>
                <a:gd name="T14" fmla="*/ 76 w 104"/>
                <a:gd name="T15" fmla="*/ 45 h 144"/>
                <a:gd name="T16" fmla="*/ 52 w 104"/>
                <a:gd name="T17" fmla="*/ 25 h 144"/>
                <a:gd name="T18" fmla="*/ 34 w 104"/>
                <a:gd name="T19" fmla="*/ 32 h 144"/>
                <a:gd name="T20" fmla="*/ 27 w 104"/>
                <a:gd name="T21" fmla="*/ 72 h 144"/>
                <a:gd name="T22" fmla="*/ 34 w 104"/>
                <a:gd name="T23" fmla="*/ 112 h 144"/>
                <a:gd name="T24" fmla="*/ 52 w 104"/>
                <a:gd name="T25" fmla="*/ 120 h 144"/>
                <a:gd name="T26" fmla="*/ 76 w 104"/>
                <a:gd name="T27" fmla="*/ 99 h 144"/>
                <a:gd name="T28" fmla="*/ 104 w 104"/>
                <a:gd name="T29" fmla="*/ 99 h 144"/>
                <a:gd name="T30" fmla="*/ 52 w 104"/>
                <a:gd name="T31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4" h="144">
                  <a:moveTo>
                    <a:pt x="52" y="144"/>
                  </a:moveTo>
                  <a:lnTo>
                    <a:pt x="52" y="144"/>
                  </a:lnTo>
                  <a:cubicBezTo>
                    <a:pt x="36" y="144"/>
                    <a:pt x="24" y="139"/>
                    <a:pt x="14" y="129"/>
                  </a:cubicBezTo>
                  <a:cubicBezTo>
                    <a:pt x="0" y="114"/>
                    <a:pt x="0" y="97"/>
                    <a:pt x="0" y="72"/>
                  </a:cubicBezTo>
                  <a:cubicBezTo>
                    <a:pt x="0" y="48"/>
                    <a:pt x="0" y="30"/>
                    <a:pt x="14" y="15"/>
                  </a:cubicBezTo>
                  <a:cubicBezTo>
                    <a:pt x="24" y="5"/>
                    <a:pt x="36" y="0"/>
                    <a:pt x="52" y="0"/>
                  </a:cubicBezTo>
                  <a:cubicBezTo>
                    <a:pt x="78" y="0"/>
                    <a:pt x="99" y="15"/>
                    <a:pt x="104" y="45"/>
                  </a:cubicBezTo>
                  <a:lnTo>
                    <a:pt x="76" y="45"/>
                  </a:lnTo>
                  <a:cubicBezTo>
                    <a:pt x="73" y="33"/>
                    <a:pt x="66" y="25"/>
                    <a:pt x="52" y="25"/>
                  </a:cubicBezTo>
                  <a:cubicBezTo>
                    <a:pt x="44" y="25"/>
                    <a:pt x="38" y="27"/>
                    <a:pt x="34" y="32"/>
                  </a:cubicBezTo>
                  <a:cubicBezTo>
                    <a:pt x="29" y="38"/>
                    <a:pt x="27" y="45"/>
                    <a:pt x="27" y="72"/>
                  </a:cubicBezTo>
                  <a:cubicBezTo>
                    <a:pt x="27" y="99"/>
                    <a:pt x="29" y="106"/>
                    <a:pt x="34" y="112"/>
                  </a:cubicBezTo>
                  <a:cubicBezTo>
                    <a:pt x="38" y="117"/>
                    <a:pt x="44" y="120"/>
                    <a:pt x="52" y="120"/>
                  </a:cubicBezTo>
                  <a:cubicBezTo>
                    <a:pt x="66" y="120"/>
                    <a:pt x="73" y="111"/>
                    <a:pt x="76" y="99"/>
                  </a:cubicBezTo>
                  <a:lnTo>
                    <a:pt x="104" y="99"/>
                  </a:lnTo>
                  <a:cubicBezTo>
                    <a:pt x="99" y="129"/>
                    <a:pt x="78" y="144"/>
                    <a:pt x="52" y="1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7" name="Freeform 6"/>
            <p:cNvSpPr>
              <a:spLocks noEditPoints="1"/>
            </p:cNvSpPr>
            <p:nvPr/>
          </p:nvSpPr>
          <p:spPr bwMode="auto">
            <a:xfrm>
              <a:off x="196850" y="-819151"/>
              <a:ext cx="93663" cy="130175"/>
            </a:xfrm>
            <a:custGeom>
              <a:avLst/>
              <a:gdLst>
                <a:gd name="T0" fmla="*/ 91 w 105"/>
                <a:gd name="T1" fmla="*/ 129 h 144"/>
                <a:gd name="T2" fmla="*/ 91 w 105"/>
                <a:gd name="T3" fmla="*/ 129 h 144"/>
                <a:gd name="T4" fmla="*/ 53 w 105"/>
                <a:gd name="T5" fmla="*/ 144 h 144"/>
                <a:gd name="T6" fmla="*/ 14 w 105"/>
                <a:gd name="T7" fmla="*/ 129 h 144"/>
                <a:gd name="T8" fmla="*/ 0 w 105"/>
                <a:gd name="T9" fmla="*/ 72 h 144"/>
                <a:gd name="T10" fmla="*/ 14 w 105"/>
                <a:gd name="T11" fmla="*/ 15 h 144"/>
                <a:gd name="T12" fmla="*/ 53 w 105"/>
                <a:gd name="T13" fmla="*/ 0 h 144"/>
                <a:gd name="T14" fmla="*/ 91 w 105"/>
                <a:gd name="T15" fmla="*/ 15 h 144"/>
                <a:gd name="T16" fmla="*/ 105 w 105"/>
                <a:gd name="T17" fmla="*/ 72 h 144"/>
                <a:gd name="T18" fmla="*/ 91 w 105"/>
                <a:gd name="T19" fmla="*/ 129 h 144"/>
                <a:gd name="T20" fmla="*/ 70 w 105"/>
                <a:gd name="T21" fmla="*/ 32 h 144"/>
                <a:gd name="T22" fmla="*/ 70 w 105"/>
                <a:gd name="T23" fmla="*/ 32 h 144"/>
                <a:gd name="T24" fmla="*/ 53 w 105"/>
                <a:gd name="T25" fmla="*/ 25 h 144"/>
                <a:gd name="T26" fmla="*/ 35 w 105"/>
                <a:gd name="T27" fmla="*/ 32 h 144"/>
                <a:gd name="T28" fmla="*/ 28 w 105"/>
                <a:gd name="T29" fmla="*/ 72 h 144"/>
                <a:gd name="T30" fmla="*/ 35 w 105"/>
                <a:gd name="T31" fmla="*/ 112 h 144"/>
                <a:gd name="T32" fmla="*/ 53 w 105"/>
                <a:gd name="T33" fmla="*/ 120 h 144"/>
                <a:gd name="T34" fmla="*/ 70 w 105"/>
                <a:gd name="T35" fmla="*/ 112 h 144"/>
                <a:gd name="T36" fmla="*/ 77 w 105"/>
                <a:gd name="T37" fmla="*/ 72 h 144"/>
                <a:gd name="T38" fmla="*/ 70 w 105"/>
                <a:gd name="T39" fmla="*/ 32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5" h="144">
                  <a:moveTo>
                    <a:pt x="91" y="129"/>
                  </a:moveTo>
                  <a:lnTo>
                    <a:pt x="91" y="129"/>
                  </a:lnTo>
                  <a:cubicBezTo>
                    <a:pt x="81" y="139"/>
                    <a:pt x="69" y="144"/>
                    <a:pt x="53" y="144"/>
                  </a:cubicBezTo>
                  <a:cubicBezTo>
                    <a:pt x="36" y="144"/>
                    <a:pt x="24" y="139"/>
                    <a:pt x="14" y="129"/>
                  </a:cubicBezTo>
                  <a:cubicBezTo>
                    <a:pt x="0" y="114"/>
                    <a:pt x="0" y="97"/>
                    <a:pt x="0" y="72"/>
                  </a:cubicBezTo>
                  <a:cubicBezTo>
                    <a:pt x="0" y="48"/>
                    <a:pt x="0" y="30"/>
                    <a:pt x="14" y="15"/>
                  </a:cubicBezTo>
                  <a:cubicBezTo>
                    <a:pt x="24" y="5"/>
                    <a:pt x="36" y="0"/>
                    <a:pt x="53" y="0"/>
                  </a:cubicBezTo>
                  <a:cubicBezTo>
                    <a:pt x="69" y="0"/>
                    <a:pt x="81" y="5"/>
                    <a:pt x="91" y="15"/>
                  </a:cubicBezTo>
                  <a:cubicBezTo>
                    <a:pt x="105" y="30"/>
                    <a:pt x="105" y="48"/>
                    <a:pt x="105" y="72"/>
                  </a:cubicBezTo>
                  <a:cubicBezTo>
                    <a:pt x="105" y="97"/>
                    <a:pt x="105" y="114"/>
                    <a:pt x="91" y="129"/>
                  </a:cubicBezTo>
                  <a:close/>
                  <a:moveTo>
                    <a:pt x="70" y="32"/>
                  </a:moveTo>
                  <a:lnTo>
                    <a:pt x="70" y="32"/>
                  </a:lnTo>
                  <a:cubicBezTo>
                    <a:pt x="66" y="28"/>
                    <a:pt x="60" y="25"/>
                    <a:pt x="53" y="25"/>
                  </a:cubicBezTo>
                  <a:cubicBezTo>
                    <a:pt x="45" y="25"/>
                    <a:pt x="39" y="28"/>
                    <a:pt x="35" y="32"/>
                  </a:cubicBezTo>
                  <a:cubicBezTo>
                    <a:pt x="29" y="38"/>
                    <a:pt x="28" y="45"/>
                    <a:pt x="28" y="72"/>
                  </a:cubicBezTo>
                  <a:cubicBezTo>
                    <a:pt x="28" y="99"/>
                    <a:pt x="29" y="106"/>
                    <a:pt x="35" y="112"/>
                  </a:cubicBezTo>
                  <a:cubicBezTo>
                    <a:pt x="39" y="117"/>
                    <a:pt x="45" y="120"/>
                    <a:pt x="53" y="120"/>
                  </a:cubicBezTo>
                  <a:cubicBezTo>
                    <a:pt x="60" y="120"/>
                    <a:pt x="66" y="117"/>
                    <a:pt x="70" y="112"/>
                  </a:cubicBezTo>
                  <a:cubicBezTo>
                    <a:pt x="76" y="106"/>
                    <a:pt x="77" y="99"/>
                    <a:pt x="77" y="72"/>
                  </a:cubicBezTo>
                  <a:cubicBezTo>
                    <a:pt x="77" y="45"/>
                    <a:pt x="76" y="38"/>
                    <a:pt x="70" y="3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8" name="Freeform 7"/>
            <p:cNvSpPr>
              <a:spLocks/>
            </p:cNvSpPr>
            <p:nvPr/>
          </p:nvSpPr>
          <p:spPr bwMode="auto">
            <a:xfrm>
              <a:off x="315913" y="-819151"/>
              <a:ext cx="96838" cy="128588"/>
            </a:xfrm>
            <a:custGeom>
              <a:avLst/>
              <a:gdLst>
                <a:gd name="T0" fmla="*/ 84 w 109"/>
                <a:gd name="T1" fmla="*/ 142 h 142"/>
                <a:gd name="T2" fmla="*/ 84 w 109"/>
                <a:gd name="T3" fmla="*/ 142 h 142"/>
                <a:gd name="T4" fmla="*/ 28 w 109"/>
                <a:gd name="T5" fmla="*/ 55 h 142"/>
                <a:gd name="T6" fmla="*/ 28 w 109"/>
                <a:gd name="T7" fmla="*/ 142 h 142"/>
                <a:gd name="T8" fmla="*/ 0 w 109"/>
                <a:gd name="T9" fmla="*/ 142 h 142"/>
                <a:gd name="T10" fmla="*/ 0 w 109"/>
                <a:gd name="T11" fmla="*/ 0 h 142"/>
                <a:gd name="T12" fmla="*/ 25 w 109"/>
                <a:gd name="T13" fmla="*/ 0 h 142"/>
                <a:gd name="T14" fmla="*/ 81 w 109"/>
                <a:gd name="T15" fmla="*/ 87 h 142"/>
                <a:gd name="T16" fmla="*/ 81 w 109"/>
                <a:gd name="T17" fmla="*/ 0 h 142"/>
                <a:gd name="T18" fmla="*/ 109 w 109"/>
                <a:gd name="T19" fmla="*/ 0 h 142"/>
                <a:gd name="T20" fmla="*/ 109 w 109"/>
                <a:gd name="T21" fmla="*/ 142 h 142"/>
                <a:gd name="T22" fmla="*/ 84 w 109"/>
                <a:gd name="T23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142">
                  <a:moveTo>
                    <a:pt x="84" y="142"/>
                  </a:moveTo>
                  <a:lnTo>
                    <a:pt x="84" y="142"/>
                  </a:lnTo>
                  <a:lnTo>
                    <a:pt x="28" y="55"/>
                  </a:lnTo>
                  <a:lnTo>
                    <a:pt x="28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25" y="0"/>
                  </a:lnTo>
                  <a:lnTo>
                    <a:pt x="81" y="87"/>
                  </a:lnTo>
                  <a:lnTo>
                    <a:pt x="81" y="0"/>
                  </a:lnTo>
                  <a:lnTo>
                    <a:pt x="109" y="0"/>
                  </a:lnTo>
                  <a:lnTo>
                    <a:pt x="109" y="142"/>
                  </a:lnTo>
                  <a:lnTo>
                    <a:pt x="84" y="1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9" name="Freeform 8"/>
            <p:cNvSpPr>
              <a:spLocks/>
            </p:cNvSpPr>
            <p:nvPr/>
          </p:nvSpPr>
          <p:spPr bwMode="auto">
            <a:xfrm>
              <a:off x="431800" y="-819151"/>
              <a:ext cx="92075" cy="128588"/>
            </a:xfrm>
            <a:custGeom>
              <a:avLst/>
              <a:gdLst>
                <a:gd name="T0" fmla="*/ 65 w 103"/>
                <a:gd name="T1" fmla="*/ 25 h 142"/>
                <a:gd name="T2" fmla="*/ 65 w 103"/>
                <a:gd name="T3" fmla="*/ 25 h 142"/>
                <a:gd name="T4" fmla="*/ 65 w 103"/>
                <a:gd name="T5" fmla="*/ 142 h 142"/>
                <a:gd name="T6" fmla="*/ 38 w 103"/>
                <a:gd name="T7" fmla="*/ 142 h 142"/>
                <a:gd name="T8" fmla="*/ 38 w 103"/>
                <a:gd name="T9" fmla="*/ 25 h 142"/>
                <a:gd name="T10" fmla="*/ 0 w 103"/>
                <a:gd name="T11" fmla="*/ 25 h 142"/>
                <a:gd name="T12" fmla="*/ 0 w 103"/>
                <a:gd name="T13" fmla="*/ 0 h 142"/>
                <a:gd name="T14" fmla="*/ 103 w 103"/>
                <a:gd name="T15" fmla="*/ 0 h 142"/>
                <a:gd name="T16" fmla="*/ 103 w 103"/>
                <a:gd name="T17" fmla="*/ 25 h 142"/>
                <a:gd name="T18" fmla="*/ 65 w 103"/>
                <a:gd name="T19" fmla="*/ 2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3" h="142">
                  <a:moveTo>
                    <a:pt x="65" y="25"/>
                  </a:moveTo>
                  <a:lnTo>
                    <a:pt x="65" y="25"/>
                  </a:lnTo>
                  <a:lnTo>
                    <a:pt x="65" y="142"/>
                  </a:lnTo>
                  <a:lnTo>
                    <a:pt x="38" y="142"/>
                  </a:lnTo>
                  <a:lnTo>
                    <a:pt x="38" y="25"/>
                  </a:lnTo>
                  <a:lnTo>
                    <a:pt x="0" y="25"/>
                  </a:lnTo>
                  <a:lnTo>
                    <a:pt x="0" y="0"/>
                  </a:lnTo>
                  <a:lnTo>
                    <a:pt x="103" y="0"/>
                  </a:lnTo>
                  <a:lnTo>
                    <a:pt x="103" y="25"/>
                  </a:lnTo>
                  <a:lnTo>
                    <a:pt x="65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0" name="Freeform 9"/>
            <p:cNvSpPr>
              <a:spLocks noEditPoints="1"/>
            </p:cNvSpPr>
            <p:nvPr/>
          </p:nvSpPr>
          <p:spPr bwMode="auto">
            <a:xfrm>
              <a:off x="520700" y="-819151"/>
              <a:ext cx="111125" cy="128588"/>
            </a:xfrm>
            <a:custGeom>
              <a:avLst/>
              <a:gdLst>
                <a:gd name="T0" fmla="*/ 96 w 125"/>
                <a:gd name="T1" fmla="*/ 142 h 142"/>
                <a:gd name="T2" fmla="*/ 96 w 125"/>
                <a:gd name="T3" fmla="*/ 142 h 142"/>
                <a:gd name="T4" fmla="*/ 88 w 125"/>
                <a:gd name="T5" fmla="*/ 117 h 142"/>
                <a:gd name="T6" fmla="*/ 37 w 125"/>
                <a:gd name="T7" fmla="*/ 117 h 142"/>
                <a:gd name="T8" fmla="*/ 29 w 125"/>
                <a:gd name="T9" fmla="*/ 142 h 142"/>
                <a:gd name="T10" fmla="*/ 0 w 125"/>
                <a:gd name="T11" fmla="*/ 142 h 142"/>
                <a:gd name="T12" fmla="*/ 51 w 125"/>
                <a:gd name="T13" fmla="*/ 0 h 142"/>
                <a:gd name="T14" fmla="*/ 73 w 125"/>
                <a:gd name="T15" fmla="*/ 0 h 142"/>
                <a:gd name="T16" fmla="*/ 125 w 125"/>
                <a:gd name="T17" fmla="*/ 142 h 142"/>
                <a:gd name="T18" fmla="*/ 96 w 125"/>
                <a:gd name="T19" fmla="*/ 142 h 142"/>
                <a:gd name="T20" fmla="*/ 63 w 125"/>
                <a:gd name="T21" fmla="*/ 42 h 142"/>
                <a:gd name="T22" fmla="*/ 63 w 125"/>
                <a:gd name="T23" fmla="*/ 42 h 142"/>
                <a:gd name="T24" fmla="*/ 45 w 125"/>
                <a:gd name="T25" fmla="*/ 94 h 142"/>
                <a:gd name="T26" fmla="*/ 80 w 125"/>
                <a:gd name="T27" fmla="*/ 94 h 142"/>
                <a:gd name="T28" fmla="*/ 63 w 125"/>
                <a:gd name="T29" fmla="*/ 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5" h="142">
                  <a:moveTo>
                    <a:pt x="96" y="142"/>
                  </a:moveTo>
                  <a:lnTo>
                    <a:pt x="96" y="142"/>
                  </a:lnTo>
                  <a:lnTo>
                    <a:pt x="88" y="117"/>
                  </a:lnTo>
                  <a:lnTo>
                    <a:pt x="37" y="117"/>
                  </a:lnTo>
                  <a:lnTo>
                    <a:pt x="29" y="142"/>
                  </a:lnTo>
                  <a:lnTo>
                    <a:pt x="0" y="142"/>
                  </a:lnTo>
                  <a:lnTo>
                    <a:pt x="51" y="0"/>
                  </a:lnTo>
                  <a:lnTo>
                    <a:pt x="73" y="0"/>
                  </a:lnTo>
                  <a:lnTo>
                    <a:pt x="125" y="142"/>
                  </a:lnTo>
                  <a:lnTo>
                    <a:pt x="96" y="142"/>
                  </a:lnTo>
                  <a:close/>
                  <a:moveTo>
                    <a:pt x="63" y="42"/>
                  </a:moveTo>
                  <a:lnTo>
                    <a:pt x="63" y="42"/>
                  </a:lnTo>
                  <a:lnTo>
                    <a:pt x="45" y="94"/>
                  </a:lnTo>
                  <a:lnTo>
                    <a:pt x="80" y="94"/>
                  </a:lnTo>
                  <a:lnTo>
                    <a:pt x="63" y="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7" name="Freeform 10"/>
            <p:cNvSpPr>
              <a:spLocks/>
            </p:cNvSpPr>
            <p:nvPr/>
          </p:nvSpPr>
          <p:spPr bwMode="auto">
            <a:xfrm>
              <a:off x="649288" y="-819151"/>
              <a:ext cx="25400" cy="128588"/>
            </a:xfrm>
            <a:custGeom>
              <a:avLst/>
              <a:gdLst>
                <a:gd name="T0" fmla="*/ 0 w 28"/>
                <a:gd name="T1" fmla="*/ 0 h 142"/>
                <a:gd name="T2" fmla="*/ 0 w 28"/>
                <a:gd name="T3" fmla="*/ 0 h 142"/>
                <a:gd name="T4" fmla="*/ 28 w 28"/>
                <a:gd name="T5" fmla="*/ 0 h 142"/>
                <a:gd name="T6" fmla="*/ 28 w 28"/>
                <a:gd name="T7" fmla="*/ 142 h 142"/>
                <a:gd name="T8" fmla="*/ 0 w 28"/>
                <a:gd name="T9" fmla="*/ 142 h 142"/>
                <a:gd name="T10" fmla="*/ 0 w 28"/>
                <a:gd name="T11" fmla="*/ 0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142">
                  <a:moveTo>
                    <a:pt x="0" y="0"/>
                  </a:moveTo>
                  <a:lnTo>
                    <a:pt x="0" y="0"/>
                  </a:lnTo>
                  <a:lnTo>
                    <a:pt x="28" y="0"/>
                  </a:lnTo>
                  <a:lnTo>
                    <a:pt x="28" y="142"/>
                  </a:lnTo>
                  <a:lnTo>
                    <a:pt x="0" y="14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8" name="Freeform 11"/>
            <p:cNvSpPr>
              <a:spLocks/>
            </p:cNvSpPr>
            <p:nvPr/>
          </p:nvSpPr>
          <p:spPr bwMode="auto">
            <a:xfrm>
              <a:off x="703263" y="-819151"/>
              <a:ext cx="96838" cy="128588"/>
            </a:xfrm>
            <a:custGeom>
              <a:avLst/>
              <a:gdLst>
                <a:gd name="T0" fmla="*/ 84 w 109"/>
                <a:gd name="T1" fmla="*/ 142 h 142"/>
                <a:gd name="T2" fmla="*/ 84 w 109"/>
                <a:gd name="T3" fmla="*/ 142 h 142"/>
                <a:gd name="T4" fmla="*/ 27 w 109"/>
                <a:gd name="T5" fmla="*/ 55 h 142"/>
                <a:gd name="T6" fmla="*/ 27 w 109"/>
                <a:gd name="T7" fmla="*/ 142 h 142"/>
                <a:gd name="T8" fmla="*/ 0 w 109"/>
                <a:gd name="T9" fmla="*/ 142 h 142"/>
                <a:gd name="T10" fmla="*/ 0 w 109"/>
                <a:gd name="T11" fmla="*/ 0 h 142"/>
                <a:gd name="T12" fmla="*/ 24 w 109"/>
                <a:gd name="T13" fmla="*/ 0 h 142"/>
                <a:gd name="T14" fmla="*/ 81 w 109"/>
                <a:gd name="T15" fmla="*/ 87 h 142"/>
                <a:gd name="T16" fmla="*/ 81 w 109"/>
                <a:gd name="T17" fmla="*/ 0 h 142"/>
                <a:gd name="T18" fmla="*/ 109 w 109"/>
                <a:gd name="T19" fmla="*/ 0 h 142"/>
                <a:gd name="T20" fmla="*/ 109 w 109"/>
                <a:gd name="T21" fmla="*/ 142 h 142"/>
                <a:gd name="T22" fmla="*/ 84 w 109"/>
                <a:gd name="T23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142">
                  <a:moveTo>
                    <a:pt x="84" y="142"/>
                  </a:moveTo>
                  <a:lnTo>
                    <a:pt x="84" y="142"/>
                  </a:lnTo>
                  <a:lnTo>
                    <a:pt x="27" y="55"/>
                  </a:lnTo>
                  <a:lnTo>
                    <a:pt x="27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81" y="87"/>
                  </a:lnTo>
                  <a:lnTo>
                    <a:pt x="81" y="0"/>
                  </a:lnTo>
                  <a:lnTo>
                    <a:pt x="109" y="0"/>
                  </a:lnTo>
                  <a:lnTo>
                    <a:pt x="109" y="142"/>
                  </a:lnTo>
                  <a:lnTo>
                    <a:pt x="84" y="1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9" name="Freeform 12"/>
            <p:cNvSpPr>
              <a:spLocks/>
            </p:cNvSpPr>
            <p:nvPr/>
          </p:nvSpPr>
          <p:spPr bwMode="auto">
            <a:xfrm>
              <a:off x="828675" y="-819151"/>
              <a:ext cx="114300" cy="128588"/>
            </a:xfrm>
            <a:custGeom>
              <a:avLst/>
              <a:gdLst>
                <a:gd name="T0" fmla="*/ 102 w 129"/>
                <a:gd name="T1" fmla="*/ 142 h 142"/>
                <a:gd name="T2" fmla="*/ 102 w 129"/>
                <a:gd name="T3" fmla="*/ 142 h 142"/>
                <a:gd name="T4" fmla="*/ 102 w 129"/>
                <a:gd name="T5" fmla="*/ 59 h 142"/>
                <a:gd name="T6" fmla="*/ 74 w 129"/>
                <a:gd name="T7" fmla="*/ 113 h 142"/>
                <a:gd name="T8" fmla="*/ 56 w 129"/>
                <a:gd name="T9" fmla="*/ 113 h 142"/>
                <a:gd name="T10" fmla="*/ 28 w 129"/>
                <a:gd name="T11" fmla="*/ 59 h 142"/>
                <a:gd name="T12" fmla="*/ 28 w 129"/>
                <a:gd name="T13" fmla="*/ 142 h 142"/>
                <a:gd name="T14" fmla="*/ 0 w 129"/>
                <a:gd name="T15" fmla="*/ 142 h 142"/>
                <a:gd name="T16" fmla="*/ 0 w 129"/>
                <a:gd name="T17" fmla="*/ 0 h 142"/>
                <a:gd name="T18" fmla="*/ 28 w 129"/>
                <a:gd name="T19" fmla="*/ 0 h 142"/>
                <a:gd name="T20" fmla="*/ 65 w 129"/>
                <a:gd name="T21" fmla="*/ 77 h 142"/>
                <a:gd name="T22" fmla="*/ 102 w 129"/>
                <a:gd name="T23" fmla="*/ 0 h 142"/>
                <a:gd name="T24" fmla="*/ 129 w 129"/>
                <a:gd name="T25" fmla="*/ 0 h 142"/>
                <a:gd name="T26" fmla="*/ 129 w 129"/>
                <a:gd name="T27" fmla="*/ 142 h 142"/>
                <a:gd name="T28" fmla="*/ 102 w 129"/>
                <a:gd name="T29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9" h="142">
                  <a:moveTo>
                    <a:pt x="102" y="142"/>
                  </a:moveTo>
                  <a:lnTo>
                    <a:pt x="102" y="142"/>
                  </a:lnTo>
                  <a:lnTo>
                    <a:pt x="102" y="59"/>
                  </a:lnTo>
                  <a:lnTo>
                    <a:pt x="74" y="113"/>
                  </a:lnTo>
                  <a:lnTo>
                    <a:pt x="56" y="113"/>
                  </a:lnTo>
                  <a:lnTo>
                    <a:pt x="28" y="59"/>
                  </a:lnTo>
                  <a:lnTo>
                    <a:pt x="28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28" y="0"/>
                  </a:lnTo>
                  <a:lnTo>
                    <a:pt x="65" y="77"/>
                  </a:lnTo>
                  <a:lnTo>
                    <a:pt x="102" y="0"/>
                  </a:lnTo>
                  <a:lnTo>
                    <a:pt x="129" y="0"/>
                  </a:lnTo>
                  <a:lnTo>
                    <a:pt x="129" y="142"/>
                  </a:lnTo>
                  <a:lnTo>
                    <a:pt x="102" y="1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0" name="Freeform 13"/>
            <p:cNvSpPr>
              <a:spLocks/>
            </p:cNvSpPr>
            <p:nvPr/>
          </p:nvSpPr>
          <p:spPr bwMode="auto">
            <a:xfrm>
              <a:off x="971550" y="-819151"/>
              <a:ext cx="84138" cy="128588"/>
            </a:xfrm>
            <a:custGeom>
              <a:avLst/>
              <a:gdLst>
                <a:gd name="T0" fmla="*/ 0 w 94"/>
                <a:gd name="T1" fmla="*/ 142 h 142"/>
                <a:gd name="T2" fmla="*/ 0 w 94"/>
                <a:gd name="T3" fmla="*/ 142 h 142"/>
                <a:gd name="T4" fmla="*/ 0 w 94"/>
                <a:gd name="T5" fmla="*/ 0 h 142"/>
                <a:gd name="T6" fmla="*/ 94 w 94"/>
                <a:gd name="T7" fmla="*/ 0 h 142"/>
                <a:gd name="T8" fmla="*/ 94 w 94"/>
                <a:gd name="T9" fmla="*/ 25 h 142"/>
                <a:gd name="T10" fmla="*/ 28 w 94"/>
                <a:gd name="T11" fmla="*/ 25 h 142"/>
                <a:gd name="T12" fmla="*/ 28 w 94"/>
                <a:gd name="T13" fmla="*/ 58 h 142"/>
                <a:gd name="T14" fmla="*/ 84 w 94"/>
                <a:gd name="T15" fmla="*/ 58 h 142"/>
                <a:gd name="T16" fmla="*/ 84 w 94"/>
                <a:gd name="T17" fmla="*/ 83 h 142"/>
                <a:gd name="T18" fmla="*/ 28 w 94"/>
                <a:gd name="T19" fmla="*/ 83 h 142"/>
                <a:gd name="T20" fmla="*/ 28 w 94"/>
                <a:gd name="T21" fmla="*/ 118 h 142"/>
                <a:gd name="T22" fmla="*/ 94 w 94"/>
                <a:gd name="T23" fmla="*/ 118 h 142"/>
                <a:gd name="T24" fmla="*/ 94 w 94"/>
                <a:gd name="T25" fmla="*/ 142 h 142"/>
                <a:gd name="T26" fmla="*/ 0 w 94"/>
                <a:gd name="T27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4" h="142">
                  <a:moveTo>
                    <a:pt x="0" y="142"/>
                  </a:moveTo>
                  <a:lnTo>
                    <a:pt x="0" y="142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25"/>
                  </a:lnTo>
                  <a:lnTo>
                    <a:pt x="28" y="25"/>
                  </a:lnTo>
                  <a:lnTo>
                    <a:pt x="28" y="58"/>
                  </a:lnTo>
                  <a:lnTo>
                    <a:pt x="84" y="58"/>
                  </a:lnTo>
                  <a:lnTo>
                    <a:pt x="84" y="83"/>
                  </a:lnTo>
                  <a:lnTo>
                    <a:pt x="28" y="83"/>
                  </a:lnTo>
                  <a:lnTo>
                    <a:pt x="28" y="118"/>
                  </a:lnTo>
                  <a:lnTo>
                    <a:pt x="94" y="118"/>
                  </a:lnTo>
                  <a:lnTo>
                    <a:pt x="94" y="142"/>
                  </a:lnTo>
                  <a:lnTo>
                    <a:pt x="0" y="1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1" name="Freeform 14"/>
            <p:cNvSpPr>
              <a:spLocks/>
            </p:cNvSpPr>
            <p:nvPr/>
          </p:nvSpPr>
          <p:spPr bwMode="auto">
            <a:xfrm>
              <a:off x="1077913" y="-819151"/>
              <a:ext cx="98425" cy="128588"/>
            </a:xfrm>
            <a:custGeom>
              <a:avLst/>
              <a:gdLst>
                <a:gd name="T0" fmla="*/ 85 w 109"/>
                <a:gd name="T1" fmla="*/ 142 h 142"/>
                <a:gd name="T2" fmla="*/ 85 w 109"/>
                <a:gd name="T3" fmla="*/ 142 h 142"/>
                <a:gd name="T4" fmla="*/ 28 w 109"/>
                <a:gd name="T5" fmla="*/ 55 h 142"/>
                <a:gd name="T6" fmla="*/ 28 w 109"/>
                <a:gd name="T7" fmla="*/ 142 h 142"/>
                <a:gd name="T8" fmla="*/ 0 w 109"/>
                <a:gd name="T9" fmla="*/ 142 h 142"/>
                <a:gd name="T10" fmla="*/ 0 w 109"/>
                <a:gd name="T11" fmla="*/ 0 h 142"/>
                <a:gd name="T12" fmla="*/ 25 w 109"/>
                <a:gd name="T13" fmla="*/ 0 h 142"/>
                <a:gd name="T14" fmla="*/ 82 w 109"/>
                <a:gd name="T15" fmla="*/ 87 h 142"/>
                <a:gd name="T16" fmla="*/ 82 w 109"/>
                <a:gd name="T17" fmla="*/ 0 h 142"/>
                <a:gd name="T18" fmla="*/ 109 w 109"/>
                <a:gd name="T19" fmla="*/ 0 h 142"/>
                <a:gd name="T20" fmla="*/ 109 w 109"/>
                <a:gd name="T21" fmla="*/ 142 h 142"/>
                <a:gd name="T22" fmla="*/ 85 w 109"/>
                <a:gd name="T23" fmla="*/ 142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9" h="142">
                  <a:moveTo>
                    <a:pt x="85" y="142"/>
                  </a:moveTo>
                  <a:lnTo>
                    <a:pt x="85" y="142"/>
                  </a:lnTo>
                  <a:lnTo>
                    <a:pt x="28" y="55"/>
                  </a:lnTo>
                  <a:lnTo>
                    <a:pt x="28" y="142"/>
                  </a:lnTo>
                  <a:lnTo>
                    <a:pt x="0" y="142"/>
                  </a:lnTo>
                  <a:lnTo>
                    <a:pt x="0" y="0"/>
                  </a:lnTo>
                  <a:lnTo>
                    <a:pt x="25" y="0"/>
                  </a:lnTo>
                  <a:lnTo>
                    <a:pt x="82" y="87"/>
                  </a:lnTo>
                  <a:lnTo>
                    <a:pt x="82" y="0"/>
                  </a:lnTo>
                  <a:lnTo>
                    <a:pt x="109" y="0"/>
                  </a:lnTo>
                  <a:lnTo>
                    <a:pt x="109" y="142"/>
                  </a:lnTo>
                  <a:lnTo>
                    <a:pt x="85" y="1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2" name="Freeform 15"/>
            <p:cNvSpPr>
              <a:spLocks/>
            </p:cNvSpPr>
            <p:nvPr/>
          </p:nvSpPr>
          <p:spPr bwMode="auto">
            <a:xfrm>
              <a:off x="1195388" y="-819151"/>
              <a:ext cx="92075" cy="128588"/>
            </a:xfrm>
            <a:custGeom>
              <a:avLst/>
              <a:gdLst>
                <a:gd name="T0" fmla="*/ 65 w 102"/>
                <a:gd name="T1" fmla="*/ 25 h 142"/>
                <a:gd name="T2" fmla="*/ 65 w 102"/>
                <a:gd name="T3" fmla="*/ 25 h 142"/>
                <a:gd name="T4" fmla="*/ 65 w 102"/>
                <a:gd name="T5" fmla="*/ 142 h 142"/>
                <a:gd name="T6" fmla="*/ 37 w 102"/>
                <a:gd name="T7" fmla="*/ 142 h 142"/>
                <a:gd name="T8" fmla="*/ 37 w 102"/>
                <a:gd name="T9" fmla="*/ 25 h 142"/>
                <a:gd name="T10" fmla="*/ 0 w 102"/>
                <a:gd name="T11" fmla="*/ 25 h 142"/>
                <a:gd name="T12" fmla="*/ 0 w 102"/>
                <a:gd name="T13" fmla="*/ 0 h 142"/>
                <a:gd name="T14" fmla="*/ 102 w 102"/>
                <a:gd name="T15" fmla="*/ 0 h 142"/>
                <a:gd name="T16" fmla="*/ 102 w 102"/>
                <a:gd name="T17" fmla="*/ 25 h 142"/>
                <a:gd name="T18" fmla="*/ 65 w 102"/>
                <a:gd name="T19" fmla="*/ 2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142">
                  <a:moveTo>
                    <a:pt x="65" y="25"/>
                  </a:moveTo>
                  <a:lnTo>
                    <a:pt x="65" y="25"/>
                  </a:lnTo>
                  <a:lnTo>
                    <a:pt x="65" y="142"/>
                  </a:lnTo>
                  <a:lnTo>
                    <a:pt x="37" y="142"/>
                  </a:lnTo>
                  <a:lnTo>
                    <a:pt x="37" y="25"/>
                  </a:lnTo>
                  <a:lnTo>
                    <a:pt x="0" y="25"/>
                  </a:lnTo>
                  <a:lnTo>
                    <a:pt x="0" y="0"/>
                  </a:lnTo>
                  <a:lnTo>
                    <a:pt x="102" y="0"/>
                  </a:lnTo>
                  <a:lnTo>
                    <a:pt x="102" y="25"/>
                  </a:lnTo>
                  <a:lnTo>
                    <a:pt x="65" y="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© Bill &amp; Melinda Gates Foundation      |</a:t>
            </a:r>
            <a:endParaRPr kumimoji="0" lang="en-US" sz="600" b="0" i="0" u="none" strike="noStrike" kern="1200" cap="none" spc="2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3F7C509-FEEF-45D3-B896-7C07814C0C13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sz="2200" b="1" dirty="0">
                <a:solidFill>
                  <a:srgbClr val="C00000"/>
                </a:solidFill>
              </a:rPr>
              <a:t>Multiple SANITATION solutions </a:t>
            </a:r>
          </a:p>
        </p:txBody>
      </p:sp>
      <p:sp>
        <p:nvSpPr>
          <p:cNvPr id="147" name="Rectangle 146"/>
          <p:cNvSpPr/>
          <p:nvPr/>
        </p:nvSpPr>
        <p:spPr>
          <a:xfrm>
            <a:off x="7424878" y="1464751"/>
            <a:ext cx="1280160" cy="29260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49" name="Reuse/Disposal"/>
          <p:cNvGrpSpPr/>
          <p:nvPr/>
        </p:nvGrpSpPr>
        <p:grpSpPr>
          <a:xfrm>
            <a:off x="7479799" y="1628013"/>
            <a:ext cx="1170319" cy="125437"/>
            <a:chOff x="7800975" y="-508001"/>
            <a:chExt cx="1436688" cy="153988"/>
          </a:xfrm>
          <a:solidFill>
            <a:schemeClr val="accent3">
              <a:lumMod val="75000"/>
            </a:schemeClr>
          </a:solidFill>
        </p:grpSpPr>
        <p:sp>
          <p:nvSpPr>
            <p:cNvPr id="198" name="Freeform 42"/>
            <p:cNvSpPr>
              <a:spLocks noEditPoints="1"/>
            </p:cNvSpPr>
            <p:nvPr/>
          </p:nvSpPr>
          <p:spPr bwMode="auto">
            <a:xfrm>
              <a:off x="7800975" y="-495301"/>
              <a:ext cx="95250" cy="128588"/>
            </a:xfrm>
            <a:custGeom>
              <a:avLst/>
              <a:gdLst>
                <a:gd name="T0" fmla="*/ 76 w 108"/>
                <a:gd name="T1" fmla="*/ 143 h 143"/>
                <a:gd name="T2" fmla="*/ 76 w 108"/>
                <a:gd name="T3" fmla="*/ 143 h 143"/>
                <a:gd name="T4" fmla="*/ 48 w 108"/>
                <a:gd name="T5" fmla="*/ 86 h 143"/>
                <a:gd name="T6" fmla="*/ 28 w 108"/>
                <a:gd name="T7" fmla="*/ 86 h 143"/>
                <a:gd name="T8" fmla="*/ 28 w 108"/>
                <a:gd name="T9" fmla="*/ 143 h 143"/>
                <a:gd name="T10" fmla="*/ 0 w 108"/>
                <a:gd name="T11" fmla="*/ 143 h 143"/>
                <a:gd name="T12" fmla="*/ 0 w 108"/>
                <a:gd name="T13" fmla="*/ 0 h 143"/>
                <a:gd name="T14" fmla="*/ 56 w 108"/>
                <a:gd name="T15" fmla="*/ 0 h 143"/>
                <a:gd name="T16" fmla="*/ 102 w 108"/>
                <a:gd name="T17" fmla="*/ 44 h 143"/>
                <a:gd name="T18" fmla="*/ 76 w 108"/>
                <a:gd name="T19" fmla="*/ 81 h 143"/>
                <a:gd name="T20" fmla="*/ 108 w 108"/>
                <a:gd name="T21" fmla="*/ 143 h 143"/>
                <a:gd name="T22" fmla="*/ 76 w 108"/>
                <a:gd name="T23" fmla="*/ 143 h 143"/>
                <a:gd name="T24" fmla="*/ 54 w 108"/>
                <a:gd name="T25" fmla="*/ 25 h 143"/>
                <a:gd name="T26" fmla="*/ 54 w 108"/>
                <a:gd name="T27" fmla="*/ 25 h 143"/>
                <a:gd name="T28" fmla="*/ 28 w 108"/>
                <a:gd name="T29" fmla="*/ 25 h 143"/>
                <a:gd name="T30" fmla="*/ 28 w 108"/>
                <a:gd name="T31" fmla="*/ 63 h 143"/>
                <a:gd name="T32" fmla="*/ 54 w 108"/>
                <a:gd name="T33" fmla="*/ 63 h 143"/>
                <a:gd name="T34" fmla="*/ 74 w 108"/>
                <a:gd name="T35" fmla="*/ 44 h 143"/>
                <a:gd name="T36" fmla="*/ 54 w 108"/>
                <a:gd name="T37" fmla="*/ 2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8" h="143">
                  <a:moveTo>
                    <a:pt x="76" y="143"/>
                  </a:moveTo>
                  <a:lnTo>
                    <a:pt x="76" y="143"/>
                  </a:lnTo>
                  <a:lnTo>
                    <a:pt x="48" y="86"/>
                  </a:lnTo>
                  <a:lnTo>
                    <a:pt x="28" y="86"/>
                  </a:lnTo>
                  <a:lnTo>
                    <a:pt x="28" y="143"/>
                  </a:lnTo>
                  <a:lnTo>
                    <a:pt x="0" y="143"/>
                  </a:lnTo>
                  <a:lnTo>
                    <a:pt x="0" y="0"/>
                  </a:lnTo>
                  <a:lnTo>
                    <a:pt x="56" y="0"/>
                  </a:lnTo>
                  <a:cubicBezTo>
                    <a:pt x="85" y="0"/>
                    <a:pt x="102" y="20"/>
                    <a:pt x="102" y="44"/>
                  </a:cubicBezTo>
                  <a:cubicBezTo>
                    <a:pt x="102" y="64"/>
                    <a:pt x="90" y="76"/>
                    <a:pt x="76" y="81"/>
                  </a:cubicBezTo>
                  <a:lnTo>
                    <a:pt x="108" y="143"/>
                  </a:lnTo>
                  <a:lnTo>
                    <a:pt x="76" y="143"/>
                  </a:lnTo>
                  <a:close/>
                  <a:moveTo>
                    <a:pt x="54" y="25"/>
                  </a:moveTo>
                  <a:lnTo>
                    <a:pt x="54" y="25"/>
                  </a:lnTo>
                  <a:lnTo>
                    <a:pt x="28" y="25"/>
                  </a:lnTo>
                  <a:lnTo>
                    <a:pt x="28" y="63"/>
                  </a:lnTo>
                  <a:lnTo>
                    <a:pt x="54" y="63"/>
                  </a:lnTo>
                  <a:cubicBezTo>
                    <a:pt x="66" y="63"/>
                    <a:pt x="74" y="55"/>
                    <a:pt x="74" y="44"/>
                  </a:cubicBezTo>
                  <a:cubicBezTo>
                    <a:pt x="74" y="33"/>
                    <a:pt x="66" y="25"/>
                    <a:pt x="54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9" name="Freeform 43"/>
            <p:cNvSpPr>
              <a:spLocks/>
            </p:cNvSpPr>
            <p:nvPr/>
          </p:nvSpPr>
          <p:spPr bwMode="auto">
            <a:xfrm>
              <a:off x="7916863" y="-495301"/>
              <a:ext cx="84138" cy="128588"/>
            </a:xfrm>
            <a:custGeom>
              <a:avLst/>
              <a:gdLst>
                <a:gd name="T0" fmla="*/ 0 w 94"/>
                <a:gd name="T1" fmla="*/ 143 h 143"/>
                <a:gd name="T2" fmla="*/ 0 w 94"/>
                <a:gd name="T3" fmla="*/ 143 h 143"/>
                <a:gd name="T4" fmla="*/ 0 w 94"/>
                <a:gd name="T5" fmla="*/ 0 h 143"/>
                <a:gd name="T6" fmla="*/ 94 w 94"/>
                <a:gd name="T7" fmla="*/ 0 h 143"/>
                <a:gd name="T8" fmla="*/ 94 w 94"/>
                <a:gd name="T9" fmla="*/ 25 h 143"/>
                <a:gd name="T10" fmla="*/ 28 w 94"/>
                <a:gd name="T11" fmla="*/ 25 h 143"/>
                <a:gd name="T12" fmla="*/ 28 w 94"/>
                <a:gd name="T13" fmla="*/ 59 h 143"/>
                <a:gd name="T14" fmla="*/ 84 w 94"/>
                <a:gd name="T15" fmla="*/ 59 h 143"/>
                <a:gd name="T16" fmla="*/ 84 w 94"/>
                <a:gd name="T17" fmla="*/ 83 h 143"/>
                <a:gd name="T18" fmla="*/ 28 w 94"/>
                <a:gd name="T19" fmla="*/ 83 h 143"/>
                <a:gd name="T20" fmla="*/ 28 w 94"/>
                <a:gd name="T21" fmla="*/ 118 h 143"/>
                <a:gd name="T22" fmla="*/ 94 w 94"/>
                <a:gd name="T23" fmla="*/ 118 h 143"/>
                <a:gd name="T24" fmla="*/ 94 w 94"/>
                <a:gd name="T25" fmla="*/ 143 h 143"/>
                <a:gd name="T26" fmla="*/ 0 w 94"/>
                <a:gd name="T27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4" h="143">
                  <a:moveTo>
                    <a:pt x="0" y="143"/>
                  </a:moveTo>
                  <a:lnTo>
                    <a:pt x="0" y="14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25"/>
                  </a:lnTo>
                  <a:lnTo>
                    <a:pt x="28" y="25"/>
                  </a:lnTo>
                  <a:lnTo>
                    <a:pt x="28" y="59"/>
                  </a:lnTo>
                  <a:lnTo>
                    <a:pt x="84" y="59"/>
                  </a:lnTo>
                  <a:lnTo>
                    <a:pt x="84" y="83"/>
                  </a:lnTo>
                  <a:lnTo>
                    <a:pt x="28" y="83"/>
                  </a:lnTo>
                  <a:lnTo>
                    <a:pt x="28" y="118"/>
                  </a:lnTo>
                  <a:lnTo>
                    <a:pt x="94" y="118"/>
                  </a:lnTo>
                  <a:lnTo>
                    <a:pt x="94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0" name="Freeform 44"/>
            <p:cNvSpPr>
              <a:spLocks/>
            </p:cNvSpPr>
            <p:nvPr/>
          </p:nvSpPr>
          <p:spPr bwMode="auto">
            <a:xfrm>
              <a:off x="8021638" y="-495301"/>
              <a:ext cx="93663" cy="128588"/>
            </a:xfrm>
            <a:custGeom>
              <a:avLst/>
              <a:gdLst>
                <a:gd name="T0" fmla="*/ 53 w 105"/>
                <a:gd name="T1" fmla="*/ 144 h 144"/>
                <a:gd name="T2" fmla="*/ 53 w 105"/>
                <a:gd name="T3" fmla="*/ 144 h 144"/>
                <a:gd name="T4" fmla="*/ 0 w 105"/>
                <a:gd name="T5" fmla="*/ 94 h 144"/>
                <a:gd name="T6" fmla="*/ 0 w 105"/>
                <a:gd name="T7" fmla="*/ 0 h 144"/>
                <a:gd name="T8" fmla="*/ 28 w 105"/>
                <a:gd name="T9" fmla="*/ 0 h 144"/>
                <a:gd name="T10" fmla="*/ 28 w 105"/>
                <a:gd name="T11" fmla="*/ 93 h 144"/>
                <a:gd name="T12" fmla="*/ 53 w 105"/>
                <a:gd name="T13" fmla="*/ 119 h 144"/>
                <a:gd name="T14" fmla="*/ 77 w 105"/>
                <a:gd name="T15" fmla="*/ 93 h 144"/>
                <a:gd name="T16" fmla="*/ 77 w 105"/>
                <a:gd name="T17" fmla="*/ 0 h 144"/>
                <a:gd name="T18" fmla="*/ 105 w 105"/>
                <a:gd name="T19" fmla="*/ 0 h 144"/>
                <a:gd name="T20" fmla="*/ 105 w 105"/>
                <a:gd name="T21" fmla="*/ 94 h 144"/>
                <a:gd name="T22" fmla="*/ 53 w 105"/>
                <a:gd name="T2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5" h="144">
                  <a:moveTo>
                    <a:pt x="53" y="144"/>
                  </a:moveTo>
                  <a:lnTo>
                    <a:pt x="53" y="144"/>
                  </a:lnTo>
                  <a:cubicBezTo>
                    <a:pt x="23" y="144"/>
                    <a:pt x="0" y="124"/>
                    <a:pt x="0" y="94"/>
                  </a:cubicBezTo>
                  <a:lnTo>
                    <a:pt x="0" y="0"/>
                  </a:lnTo>
                  <a:lnTo>
                    <a:pt x="28" y="0"/>
                  </a:lnTo>
                  <a:lnTo>
                    <a:pt x="28" y="93"/>
                  </a:lnTo>
                  <a:cubicBezTo>
                    <a:pt x="28" y="109"/>
                    <a:pt x="38" y="119"/>
                    <a:pt x="53" y="119"/>
                  </a:cubicBezTo>
                  <a:cubicBezTo>
                    <a:pt x="68" y="119"/>
                    <a:pt x="77" y="109"/>
                    <a:pt x="77" y="93"/>
                  </a:cubicBezTo>
                  <a:lnTo>
                    <a:pt x="77" y="0"/>
                  </a:lnTo>
                  <a:lnTo>
                    <a:pt x="105" y="0"/>
                  </a:lnTo>
                  <a:lnTo>
                    <a:pt x="105" y="94"/>
                  </a:lnTo>
                  <a:cubicBezTo>
                    <a:pt x="105" y="124"/>
                    <a:pt x="82" y="144"/>
                    <a:pt x="53" y="1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1" name="Freeform 45"/>
            <p:cNvSpPr>
              <a:spLocks/>
            </p:cNvSpPr>
            <p:nvPr/>
          </p:nvSpPr>
          <p:spPr bwMode="auto">
            <a:xfrm>
              <a:off x="8131175" y="-496888"/>
              <a:ext cx="92075" cy="130175"/>
            </a:xfrm>
            <a:custGeom>
              <a:avLst/>
              <a:gdLst>
                <a:gd name="T0" fmla="*/ 52 w 104"/>
                <a:gd name="T1" fmla="*/ 145 h 145"/>
                <a:gd name="T2" fmla="*/ 52 w 104"/>
                <a:gd name="T3" fmla="*/ 145 h 145"/>
                <a:gd name="T4" fmla="*/ 0 w 104"/>
                <a:gd name="T5" fmla="*/ 126 h 145"/>
                <a:gd name="T6" fmla="*/ 18 w 104"/>
                <a:gd name="T7" fmla="*/ 108 h 145"/>
                <a:gd name="T8" fmla="*/ 52 w 104"/>
                <a:gd name="T9" fmla="*/ 120 h 145"/>
                <a:gd name="T10" fmla="*/ 77 w 104"/>
                <a:gd name="T11" fmla="*/ 102 h 145"/>
                <a:gd name="T12" fmla="*/ 73 w 104"/>
                <a:gd name="T13" fmla="*/ 90 h 145"/>
                <a:gd name="T14" fmla="*/ 60 w 104"/>
                <a:gd name="T15" fmla="*/ 85 h 145"/>
                <a:gd name="T16" fmla="*/ 43 w 104"/>
                <a:gd name="T17" fmla="*/ 83 h 145"/>
                <a:gd name="T18" fmla="*/ 15 w 104"/>
                <a:gd name="T19" fmla="*/ 71 h 145"/>
                <a:gd name="T20" fmla="*/ 5 w 104"/>
                <a:gd name="T21" fmla="*/ 43 h 145"/>
                <a:gd name="T22" fmla="*/ 55 w 104"/>
                <a:gd name="T23" fmla="*/ 0 h 145"/>
                <a:gd name="T24" fmla="*/ 101 w 104"/>
                <a:gd name="T25" fmla="*/ 17 h 145"/>
                <a:gd name="T26" fmla="*/ 83 w 104"/>
                <a:gd name="T27" fmla="*/ 34 h 145"/>
                <a:gd name="T28" fmla="*/ 54 w 104"/>
                <a:gd name="T29" fmla="*/ 24 h 145"/>
                <a:gd name="T30" fmla="*/ 32 w 104"/>
                <a:gd name="T31" fmla="*/ 42 h 145"/>
                <a:gd name="T32" fmla="*/ 36 w 104"/>
                <a:gd name="T33" fmla="*/ 52 h 145"/>
                <a:gd name="T34" fmla="*/ 49 w 104"/>
                <a:gd name="T35" fmla="*/ 58 h 145"/>
                <a:gd name="T36" fmla="*/ 66 w 104"/>
                <a:gd name="T37" fmla="*/ 60 h 145"/>
                <a:gd name="T38" fmla="*/ 93 w 104"/>
                <a:gd name="T39" fmla="*/ 71 h 145"/>
                <a:gd name="T40" fmla="*/ 104 w 104"/>
                <a:gd name="T41" fmla="*/ 102 h 145"/>
                <a:gd name="T42" fmla="*/ 52 w 104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4" h="145">
                  <a:moveTo>
                    <a:pt x="52" y="145"/>
                  </a:moveTo>
                  <a:lnTo>
                    <a:pt x="52" y="145"/>
                  </a:lnTo>
                  <a:cubicBezTo>
                    <a:pt x="30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39" y="120"/>
                    <a:pt x="52" y="120"/>
                  </a:cubicBezTo>
                  <a:cubicBezTo>
                    <a:pt x="68" y="120"/>
                    <a:pt x="77" y="114"/>
                    <a:pt x="77" y="102"/>
                  </a:cubicBezTo>
                  <a:cubicBezTo>
                    <a:pt x="77" y="97"/>
                    <a:pt x="76" y="93"/>
                    <a:pt x="73" y="90"/>
                  </a:cubicBezTo>
                  <a:cubicBezTo>
                    <a:pt x="70" y="88"/>
                    <a:pt x="67" y="86"/>
                    <a:pt x="60" y="85"/>
                  </a:cubicBezTo>
                  <a:lnTo>
                    <a:pt x="43" y="83"/>
                  </a:lnTo>
                  <a:cubicBezTo>
                    <a:pt x="31" y="81"/>
                    <a:pt x="22" y="77"/>
                    <a:pt x="15" y="71"/>
                  </a:cubicBezTo>
                  <a:cubicBezTo>
                    <a:pt x="9" y="65"/>
                    <a:pt x="5" y="55"/>
                    <a:pt x="5" y="43"/>
                  </a:cubicBezTo>
                  <a:cubicBezTo>
                    <a:pt x="5" y="18"/>
                    <a:pt x="24" y="0"/>
                    <a:pt x="55" y="0"/>
                  </a:cubicBezTo>
                  <a:cubicBezTo>
                    <a:pt x="74" y="0"/>
                    <a:pt x="89" y="5"/>
                    <a:pt x="101" y="17"/>
                  </a:cubicBezTo>
                  <a:lnTo>
                    <a:pt x="83" y="34"/>
                  </a:lnTo>
                  <a:cubicBezTo>
                    <a:pt x="74" y="26"/>
                    <a:pt x="63" y="24"/>
                    <a:pt x="54" y="24"/>
                  </a:cubicBezTo>
                  <a:cubicBezTo>
                    <a:pt x="39" y="24"/>
                    <a:pt x="32" y="32"/>
                    <a:pt x="32" y="42"/>
                  </a:cubicBezTo>
                  <a:cubicBezTo>
                    <a:pt x="32" y="46"/>
                    <a:pt x="33" y="50"/>
                    <a:pt x="36" y="52"/>
                  </a:cubicBezTo>
                  <a:cubicBezTo>
                    <a:pt x="39" y="55"/>
                    <a:pt x="44" y="57"/>
                    <a:pt x="49" y="58"/>
                  </a:cubicBezTo>
                  <a:lnTo>
                    <a:pt x="66" y="60"/>
                  </a:lnTo>
                  <a:cubicBezTo>
                    <a:pt x="79" y="62"/>
                    <a:pt x="87" y="66"/>
                    <a:pt x="93" y="71"/>
                  </a:cubicBezTo>
                  <a:cubicBezTo>
                    <a:pt x="101" y="79"/>
                    <a:pt x="104" y="89"/>
                    <a:pt x="104" y="102"/>
                  </a:cubicBezTo>
                  <a:cubicBezTo>
                    <a:pt x="104" y="129"/>
                    <a:pt x="81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2" name="Freeform 46"/>
            <p:cNvSpPr>
              <a:spLocks/>
            </p:cNvSpPr>
            <p:nvPr/>
          </p:nvSpPr>
          <p:spPr bwMode="auto">
            <a:xfrm>
              <a:off x="8245475" y="-495301"/>
              <a:ext cx="84138" cy="128588"/>
            </a:xfrm>
            <a:custGeom>
              <a:avLst/>
              <a:gdLst>
                <a:gd name="T0" fmla="*/ 0 w 93"/>
                <a:gd name="T1" fmla="*/ 143 h 143"/>
                <a:gd name="T2" fmla="*/ 0 w 93"/>
                <a:gd name="T3" fmla="*/ 143 h 143"/>
                <a:gd name="T4" fmla="*/ 0 w 93"/>
                <a:gd name="T5" fmla="*/ 0 h 143"/>
                <a:gd name="T6" fmla="*/ 93 w 93"/>
                <a:gd name="T7" fmla="*/ 0 h 143"/>
                <a:gd name="T8" fmla="*/ 93 w 93"/>
                <a:gd name="T9" fmla="*/ 25 h 143"/>
                <a:gd name="T10" fmla="*/ 27 w 93"/>
                <a:gd name="T11" fmla="*/ 25 h 143"/>
                <a:gd name="T12" fmla="*/ 27 w 93"/>
                <a:gd name="T13" fmla="*/ 59 h 143"/>
                <a:gd name="T14" fmla="*/ 84 w 93"/>
                <a:gd name="T15" fmla="*/ 59 h 143"/>
                <a:gd name="T16" fmla="*/ 84 w 93"/>
                <a:gd name="T17" fmla="*/ 83 h 143"/>
                <a:gd name="T18" fmla="*/ 27 w 93"/>
                <a:gd name="T19" fmla="*/ 83 h 143"/>
                <a:gd name="T20" fmla="*/ 27 w 93"/>
                <a:gd name="T21" fmla="*/ 118 h 143"/>
                <a:gd name="T22" fmla="*/ 93 w 93"/>
                <a:gd name="T23" fmla="*/ 118 h 143"/>
                <a:gd name="T24" fmla="*/ 93 w 93"/>
                <a:gd name="T25" fmla="*/ 143 h 143"/>
                <a:gd name="T26" fmla="*/ 0 w 93"/>
                <a:gd name="T27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3" h="143">
                  <a:moveTo>
                    <a:pt x="0" y="143"/>
                  </a:moveTo>
                  <a:lnTo>
                    <a:pt x="0" y="143"/>
                  </a:lnTo>
                  <a:lnTo>
                    <a:pt x="0" y="0"/>
                  </a:lnTo>
                  <a:lnTo>
                    <a:pt x="93" y="0"/>
                  </a:lnTo>
                  <a:lnTo>
                    <a:pt x="93" y="25"/>
                  </a:lnTo>
                  <a:lnTo>
                    <a:pt x="27" y="25"/>
                  </a:lnTo>
                  <a:lnTo>
                    <a:pt x="27" y="59"/>
                  </a:lnTo>
                  <a:lnTo>
                    <a:pt x="84" y="59"/>
                  </a:lnTo>
                  <a:lnTo>
                    <a:pt x="84" y="83"/>
                  </a:lnTo>
                  <a:lnTo>
                    <a:pt x="27" y="83"/>
                  </a:lnTo>
                  <a:lnTo>
                    <a:pt x="27" y="118"/>
                  </a:lnTo>
                  <a:lnTo>
                    <a:pt x="93" y="118"/>
                  </a:lnTo>
                  <a:lnTo>
                    <a:pt x="93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3" name="Freeform 47"/>
            <p:cNvSpPr>
              <a:spLocks/>
            </p:cNvSpPr>
            <p:nvPr/>
          </p:nvSpPr>
          <p:spPr bwMode="auto">
            <a:xfrm>
              <a:off x="8342313" y="-508001"/>
              <a:ext cx="71438" cy="153988"/>
            </a:xfrm>
            <a:custGeom>
              <a:avLst/>
              <a:gdLst>
                <a:gd name="T0" fmla="*/ 57 w 81"/>
                <a:gd name="T1" fmla="*/ 0 h 172"/>
                <a:gd name="T2" fmla="*/ 57 w 81"/>
                <a:gd name="T3" fmla="*/ 0 h 172"/>
                <a:gd name="T4" fmla="*/ 0 w 81"/>
                <a:gd name="T5" fmla="*/ 172 h 172"/>
                <a:gd name="T6" fmla="*/ 24 w 81"/>
                <a:gd name="T7" fmla="*/ 172 h 172"/>
                <a:gd name="T8" fmla="*/ 81 w 81"/>
                <a:gd name="T9" fmla="*/ 0 h 172"/>
                <a:gd name="T10" fmla="*/ 57 w 81"/>
                <a:gd name="T11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172">
                  <a:moveTo>
                    <a:pt x="57" y="0"/>
                  </a:moveTo>
                  <a:lnTo>
                    <a:pt x="57" y="0"/>
                  </a:lnTo>
                  <a:lnTo>
                    <a:pt x="0" y="172"/>
                  </a:lnTo>
                  <a:lnTo>
                    <a:pt x="24" y="172"/>
                  </a:lnTo>
                  <a:lnTo>
                    <a:pt x="81" y="0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4" name="Freeform 48"/>
            <p:cNvSpPr>
              <a:spLocks noEditPoints="1"/>
            </p:cNvSpPr>
            <p:nvPr/>
          </p:nvSpPr>
          <p:spPr bwMode="auto">
            <a:xfrm>
              <a:off x="8429625" y="-495301"/>
              <a:ext cx="93663" cy="128588"/>
            </a:xfrm>
            <a:custGeom>
              <a:avLst/>
              <a:gdLst>
                <a:gd name="T0" fmla="*/ 89 w 105"/>
                <a:gd name="T1" fmla="*/ 129 h 143"/>
                <a:gd name="T2" fmla="*/ 89 w 105"/>
                <a:gd name="T3" fmla="*/ 129 h 143"/>
                <a:gd name="T4" fmla="*/ 51 w 105"/>
                <a:gd name="T5" fmla="*/ 143 h 143"/>
                <a:gd name="T6" fmla="*/ 0 w 105"/>
                <a:gd name="T7" fmla="*/ 143 h 143"/>
                <a:gd name="T8" fmla="*/ 0 w 105"/>
                <a:gd name="T9" fmla="*/ 0 h 143"/>
                <a:gd name="T10" fmla="*/ 51 w 105"/>
                <a:gd name="T11" fmla="*/ 0 h 143"/>
                <a:gd name="T12" fmla="*/ 89 w 105"/>
                <a:gd name="T13" fmla="*/ 14 h 143"/>
                <a:gd name="T14" fmla="*/ 103 w 105"/>
                <a:gd name="T15" fmla="*/ 71 h 143"/>
                <a:gd name="T16" fmla="*/ 89 w 105"/>
                <a:gd name="T17" fmla="*/ 129 h 143"/>
                <a:gd name="T18" fmla="*/ 69 w 105"/>
                <a:gd name="T19" fmla="*/ 34 h 143"/>
                <a:gd name="T20" fmla="*/ 69 w 105"/>
                <a:gd name="T21" fmla="*/ 34 h 143"/>
                <a:gd name="T22" fmla="*/ 48 w 105"/>
                <a:gd name="T23" fmla="*/ 25 h 143"/>
                <a:gd name="T24" fmla="*/ 27 w 105"/>
                <a:gd name="T25" fmla="*/ 25 h 143"/>
                <a:gd name="T26" fmla="*/ 27 w 105"/>
                <a:gd name="T27" fmla="*/ 118 h 143"/>
                <a:gd name="T28" fmla="*/ 48 w 105"/>
                <a:gd name="T29" fmla="*/ 118 h 143"/>
                <a:gd name="T30" fmla="*/ 69 w 105"/>
                <a:gd name="T31" fmla="*/ 109 h 143"/>
                <a:gd name="T32" fmla="*/ 75 w 105"/>
                <a:gd name="T33" fmla="*/ 71 h 143"/>
                <a:gd name="T34" fmla="*/ 69 w 105"/>
                <a:gd name="T35" fmla="*/ 3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" h="143">
                  <a:moveTo>
                    <a:pt x="89" y="129"/>
                  </a:moveTo>
                  <a:lnTo>
                    <a:pt x="89" y="129"/>
                  </a:lnTo>
                  <a:cubicBezTo>
                    <a:pt x="79" y="138"/>
                    <a:pt x="66" y="143"/>
                    <a:pt x="51" y="143"/>
                  </a:cubicBezTo>
                  <a:lnTo>
                    <a:pt x="0" y="143"/>
                  </a:lnTo>
                  <a:lnTo>
                    <a:pt x="0" y="0"/>
                  </a:lnTo>
                  <a:lnTo>
                    <a:pt x="51" y="0"/>
                  </a:lnTo>
                  <a:cubicBezTo>
                    <a:pt x="66" y="0"/>
                    <a:pt x="79" y="5"/>
                    <a:pt x="89" y="14"/>
                  </a:cubicBezTo>
                  <a:cubicBezTo>
                    <a:pt x="105" y="30"/>
                    <a:pt x="103" y="50"/>
                    <a:pt x="103" y="71"/>
                  </a:cubicBezTo>
                  <a:cubicBezTo>
                    <a:pt x="103" y="92"/>
                    <a:pt x="105" y="113"/>
                    <a:pt x="89" y="129"/>
                  </a:cubicBezTo>
                  <a:close/>
                  <a:moveTo>
                    <a:pt x="69" y="34"/>
                  </a:moveTo>
                  <a:lnTo>
                    <a:pt x="69" y="34"/>
                  </a:lnTo>
                  <a:cubicBezTo>
                    <a:pt x="64" y="28"/>
                    <a:pt x="58" y="25"/>
                    <a:pt x="48" y="25"/>
                  </a:cubicBezTo>
                  <a:lnTo>
                    <a:pt x="27" y="25"/>
                  </a:lnTo>
                  <a:lnTo>
                    <a:pt x="27" y="118"/>
                  </a:lnTo>
                  <a:lnTo>
                    <a:pt x="48" y="118"/>
                  </a:lnTo>
                  <a:cubicBezTo>
                    <a:pt x="58" y="118"/>
                    <a:pt x="64" y="115"/>
                    <a:pt x="69" y="109"/>
                  </a:cubicBezTo>
                  <a:cubicBezTo>
                    <a:pt x="74" y="103"/>
                    <a:pt x="75" y="93"/>
                    <a:pt x="75" y="71"/>
                  </a:cubicBezTo>
                  <a:cubicBezTo>
                    <a:pt x="75" y="49"/>
                    <a:pt x="74" y="40"/>
                    <a:pt x="69" y="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5" name="Freeform 49"/>
            <p:cNvSpPr>
              <a:spLocks/>
            </p:cNvSpPr>
            <p:nvPr/>
          </p:nvSpPr>
          <p:spPr bwMode="auto">
            <a:xfrm>
              <a:off x="8545513" y="-495301"/>
              <a:ext cx="25400" cy="128588"/>
            </a:xfrm>
            <a:custGeom>
              <a:avLst/>
              <a:gdLst>
                <a:gd name="T0" fmla="*/ 0 w 27"/>
                <a:gd name="T1" fmla="*/ 0 h 143"/>
                <a:gd name="T2" fmla="*/ 0 w 27"/>
                <a:gd name="T3" fmla="*/ 0 h 143"/>
                <a:gd name="T4" fmla="*/ 27 w 27"/>
                <a:gd name="T5" fmla="*/ 0 h 143"/>
                <a:gd name="T6" fmla="*/ 27 w 27"/>
                <a:gd name="T7" fmla="*/ 143 h 143"/>
                <a:gd name="T8" fmla="*/ 0 w 27"/>
                <a:gd name="T9" fmla="*/ 143 h 143"/>
                <a:gd name="T10" fmla="*/ 0 w 27"/>
                <a:gd name="T11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143">
                  <a:moveTo>
                    <a:pt x="0" y="0"/>
                  </a:moveTo>
                  <a:lnTo>
                    <a:pt x="0" y="0"/>
                  </a:lnTo>
                  <a:lnTo>
                    <a:pt x="27" y="0"/>
                  </a:lnTo>
                  <a:lnTo>
                    <a:pt x="27" y="143"/>
                  </a:lnTo>
                  <a:lnTo>
                    <a:pt x="0" y="14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6" name="Freeform 50"/>
            <p:cNvSpPr>
              <a:spLocks/>
            </p:cNvSpPr>
            <p:nvPr/>
          </p:nvSpPr>
          <p:spPr bwMode="auto">
            <a:xfrm>
              <a:off x="8589963" y="-496888"/>
              <a:ext cx="92075" cy="130175"/>
            </a:xfrm>
            <a:custGeom>
              <a:avLst/>
              <a:gdLst>
                <a:gd name="T0" fmla="*/ 52 w 104"/>
                <a:gd name="T1" fmla="*/ 145 h 145"/>
                <a:gd name="T2" fmla="*/ 52 w 104"/>
                <a:gd name="T3" fmla="*/ 145 h 145"/>
                <a:gd name="T4" fmla="*/ 0 w 104"/>
                <a:gd name="T5" fmla="*/ 126 h 145"/>
                <a:gd name="T6" fmla="*/ 18 w 104"/>
                <a:gd name="T7" fmla="*/ 108 h 145"/>
                <a:gd name="T8" fmla="*/ 52 w 104"/>
                <a:gd name="T9" fmla="*/ 120 h 145"/>
                <a:gd name="T10" fmla="*/ 77 w 104"/>
                <a:gd name="T11" fmla="*/ 102 h 145"/>
                <a:gd name="T12" fmla="*/ 73 w 104"/>
                <a:gd name="T13" fmla="*/ 90 h 145"/>
                <a:gd name="T14" fmla="*/ 60 w 104"/>
                <a:gd name="T15" fmla="*/ 85 h 145"/>
                <a:gd name="T16" fmla="*/ 43 w 104"/>
                <a:gd name="T17" fmla="*/ 83 h 145"/>
                <a:gd name="T18" fmla="*/ 15 w 104"/>
                <a:gd name="T19" fmla="*/ 71 h 145"/>
                <a:gd name="T20" fmla="*/ 5 w 104"/>
                <a:gd name="T21" fmla="*/ 43 h 145"/>
                <a:gd name="T22" fmla="*/ 55 w 104"/>
                <a:gd name="T23" fmla="*/ 0 h 145"/>
                <a:gd name="T24" fmla="*/ 101 w 104"/>
                <a:gd name="T25" fmla="*/ 17 h 145"/>
                <a:gd name="T26" fmla="*/ 83 w 104"/>
                <a:gd name="T27" fmla="*/ 34 h 145"/>
                <a:gd name="T28" fmla="*/ 54 w 104"/>
                <a:gd name="T29" fmla="*/ 24 h 145"/>
                <a:gd name="T30" fmla="*/ 32 w 104"/>
                <a:gd name="T31" fmla="*/ 42 h 145"/>
                <a:gd name="T32" fmla="*/ 36 w 104"/>
                <a:gd name="T33" fmla="*/ 52 h 145"/>
                <a:gd name="T34" fmla="*/ 49 w 104"/>
                <a:gd name="T35" fmla="*/ 58 h 145"/>
                <a:gd name="T36" fmla="*/ 66 w 104"/>
                <a:gd name="T37" fmla="*/ 60 h 145"/>
                <a:gd name="T38" fmla="*/ 93 w 104"/>
                <a:gd name="T39" fmla="*/ 71 h 145"/>
                <a:gd name="T40" fmla="*/ 104 w 104"/>
                <a:gd name="T41" fmla="*/ 102 h 145"/>
                <a:gd name="T42" fmla="*/ 52 w 104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4" h="145">
                  <a:moveTo>
                    <a:pt x="52" y="145"/>
                  </a:moveTo>
                  <a:lnTo>
                    <a:pt x="52" y="145"/>
                  </a:lnTo>
                  <a:cubicBezTo>
                    <a:pt x="30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39" y="120"/>
                    <a:pt x="52" y="120"/>
                  </a:cubicBezTo>
                  <a:cubicBezTo>
                    <a:pt x="68" y="120"/>
                    <a:pt x="77" y="114"/>
                    <a:pt x="77" y="102"/>
                  </a:cubicBezTo>
                  <a:cubicBezTo>
                    <a:pt x="77" y="97"/>
                    <a:pt x="76" y="93"/>
                    <a:pt x="73" y="90"/>
                  </a:cubicBezTo>
                  <a:cubicBezTo>
                    <a:pt x="70" y="88"/>
                    <a:pt x="67" y="86"/>
                    <a:pt x="60" y="85"/>
                  </a:cubicBezTo>
                  <a:lnTo>
                    <a:pt x="43" y="83"/>
                  </a:lnTo>
                  <a:cubicBezTo>
                    <a:pt x="31" y="81"/>
                    <a:pt x="22" y="77"/>
                    <a:pt x="15" y="71"/>
                  </a:cubicBezTo>
                  <a:cubicBezTo>
                    <a:pt x="9" y="65"/>
                    <a:pt x="5" y="55"/>
                    <a:pt x="5" y="43"/>
                  </a:cubicBezTo>
                  <a:cubicBezTo>
                    <a:pt x="5" y="18"/>
                    <a:pt x="24" y="0"/>
                    <a:pt x="55" y="0"/>
                  </a:cubicBezTo>
                  <a:cubicBezTo>
                    <a:pt x="74" y="0"/>
                    <a:pt x="89" y="5"/>
                    <a:pt x="101" y="17"/>
                  </a:cubicBezTo>
                  <a:lnTo>
                    <a:pt x="83" y="34"/>
                  </a:lnTo>
                  <a:cubicBezTo>
                    <a:pt x="74" y="26"/>
                    <a:pt x="63" y="24"/>
                    <a:pt x="54" y="24"/>
                  </a:cubicBezTo>
                  <a:cubicBezTo>
                    <a:pt x="39" y="24"/>
                    <a:pt x="32" y="32"/>
                    <a:pt x="32" y="42"/>
                  </a:cubicBezTo>
                  <a:cubicBezTo>
                    <a:pt x="32" y="46"/>
                    <a:pt x="33" y="50"/>
                    <a:pt x="36" y="52"/>
                  </a:cubicBezTo>
                  <a:cubicBezTo>
                    <a:pt x="39" y="55"/>
                    <a:pt x="44" y="57"/>
                    <a:pt x="49" y="58"/>
                  </a:cubicBezTo>
                  <a:lnTo>
                    <a:pt x="66" y="60"/>
                  </a:lnTo>
                  <a:cubicBezTo>
                    <a:pt x="79" y="62"/>
                    <a:pt x="87" y="66"/>
                    <a:pt x="93" y="71"/>
                  </a:cubicBezTo>
                  <a:cubicBezTo>
                    <a:pt x="101" y="79"/>
                    <a:pt x="104" y="89"/>
                    <a:pt x="104" y="102"/>
                  </a:cubicBezTo>
                  <a:cubicBezTo>
                    <a:pt x="104" y="129"/>
                    <a:pt x="81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7" name="Freeform 51"/>
            <p:cNvSpPr>
              <a:spLocks noEditPoints="1"/>
            </p:cNvSpPr>
            <p:nvPr/>
          </p:nvSpPr>
          <p:spPr bwMode="auto">
            <a:xfrm>
              <a:off x="8704263" y="-495301"/>
              <a:ext cx="92075" cy="128588"/>
            </a:xfrm>
            <a:custGeom>
              <a:avLst/>
              <a:gdLst>
                <a:gd name="T0" fmla="*/ 55 w 102"/>
                <a:gd name="T1" fmla="*/ 89 h 143"/>
                <a:gd name="T2" fmla="*/ 55 w 102"/>
                <a:gd name="T3" fmla="*/ 89 h 143"/>
                <a:gd name="T4" fmla="*/ 27 w 102"/>
                <a:gd name="T5" fmla="*/ 89 h 143"/>
                <a:gd name="T6" fmla="*/ 27 w 102"/>
                <a:gd name="T7" fmla="*/ 143 h 143"/>
                <a:gd name="T8" fmla="*/ 0 w 102"/>
                <a:gd name="T9" fmla="*/ 143 h 143"/>
                <a:gd name="T10" fmla="*/ 0 w 102"/>
                <a:gd name="T11" fmla="*/ 0 h 143"/>
                <a:gd name="T12" fmla="*/ 55 w 102"/>
                <a:gd name="T13" fmla="*/ 0 h 143"/>
                <a:gd name="T14" fmla="*/ 102 w 102"/>
                <a:gd name="T15" fmla="*/ 45 h 143"/>
                <a:gd name="T16" fmla="*/ 55 w 102"/>
                <a:gd name="T17" fmla="*/ 89 h 143"/>
                <a:gd name="T18" fmla="*/ 53 w 102"/>
                <a:gd name="T19" fmla="*/ 25 h 143"/>
                <a:gd name="T20" fmla="*/ 53 w 102"/>
                <a:gd name="T21" fmla="*/ 25 h 143"/>
                <a:gd name="T22" fmla="*/ 27 w 102"/>
                <a:gd name="T23" fmla="*/ 25 h 143"/>
                <a:gd name="T24" fmla="*/ 27 w 102"/>
                <a:gd name="T25" fmla="*/ 64 h 143"/>
                <a:gd name="T26" fmla="*/ 53 w 102"/>
                <a:gd name="T27" fmla="*/ 64 h 143"/>
                <a:gd name="T28" fmla="*/ 74 w 102"/>
                <a:gd name="T29" fmla="*/ 45 h 143"/>
                <a:gd name="T30" fmla="*/ 53 w 102"/>
                <a:gd name="T31" fmla="*/ 2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2" h="143">
                  <a:moveTo>
                    <a:pt x="55" y="89"/>
                  </a:moveTo>
                  <a:lnTo>
                    <a:pt x="55" y="89"/>
                  </a:lnTo>
                  <a:lnTo>
                    <a:pt x="27" y="89"/>
                  </a:lnTo>
                  <a:lnTo>
                    <a:pt x="27" y="143"/>
                  </a:lnTo>
                  <a:lnTo>
                    <a:pt x="0" y="143"/>
                  </a:lnTo>
                  <a:lnTo>
                    <a:pt x="0" y="0"/>
                  </a:lnTo>
                  <a:lnTo>
                    <a:pt x="55" y="0"/>
                  </a:lnTo>
                  <a:cubicBezTo>
                    <a:pt x="84" y="0"/>
                    <a:pt x="102" y="20"/>
                    <a:pt x="102" y="45"/>
                  </a:cubicBezTo>
                  <a:cubicBezTo>
                    <a:pt x="102" y="69"/>
                    <a:pt x="84" y="89"/>
                    <a:pt x="55" y="89"/>
                  </a:cubicBezTo>
                  <a:close/>
                  <a:moveTo>
                    <a:pt x="53" y="25"/>
                  </a:moveTo>
                  <a:lnTo>
                    <a:pt x="53" y="25"/>
                  </a:lnTo>
                  <a:lnTo>
                    <a:pt x="27" y="25"/>
                  </a:lnTo>
                  <a:lnTo>
                    <a:pt x="27" y="64"/>
                  </a:lnTo>
                  <a:lnTo>
                    <a:pt x="53" y="64"/>
                  </a:lnTo>
                  <a:cubicBezTo>
                    <a:pt x="66" y="64"/>
                    <a:pt x="74" y="56"/>
                    <a:pt x="74" y="45"/>
                  </a:cubicBezTo>
                  <a:cubicBezTo>
                    <a:pt x="74" y="33"/>
                    <a:pt x="66" y="25"/>
                    <a:pt x="53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8" name="Freeform 52"/>
            <p:cNvSpPr>
              <a:spLocks noEditPoints="1"/>
            </p:cNvSpPr>
            <p:nvPr/>
          </p:nvSpPr>
          <p:spPr bwMode="auto">
            <a:xfrm>
              <a:off x="8813800" y="-496888"/>
              <a:ext cx="93663" cy="130175"/>
            </a:xfrm>
            <a:custGeom>
              <a:avLst/>
              <a:gdLst>
                <a:gd name="T0" fmla="*/ 91 w 106"/>
                <a:gd name="T1" fmla="*/ 129 h 145"/>
                <a:gd name="T2" fmla="*/ 91 w 106"/>
                <a:gd name="T3" fmla="*/ 129 h 145"/>
                <a:gd name="T4" fmla="*/ 53 w 106"/>
                <a:gd name="T5" fmla="*/ 145 h 145"/>
                <a:gd name="T6" fmla="*/ 14 w 106"/>
                <a:gd name="T7" fmla="*/ 129 h 145"/>
                <a:gd name="T8" fmla="*/ 0 w 106"/>
                <a:gd name="T9" fmla="*/ 72 h 145"/>
                <a:gd name="T10" fmla="*/ 14 w 106"/>
                <a:gd name="T11" fmla="*/ 16 h 145"/>
                <a:gd name="T12" fmla="*/ 53 w 106"/>
                <a:gd name="T13" fmla="*/ 0 h 145"/>
                <a:gd name="T14" fmla="*/ 91 w 106"/>
                <a:gd name="T15" fmla="*/ 16 h 145"/>
                <a:gd name="T16" fmla="*/ 105 w 106"/>
                <a:gd name="T17" fmla="*/ 72 h 145"/>
                <a:gd name="T18" fmla="*/ 91 w 106"/>
                <a:gd name="T19" fmla="*/ 129 h 145"/>
                <a:gd name="T20" fmla="*/ 71 w 106"/>
                <a:gd name="T21" fmla="*/ 32 h 145"/>
                <a:gd name="T22" fmla="*/ 71 w 106"/>
                <a:gd name="T23" fmla="*/ 32 h 145"/>
                <a:gd name="T24" fmla="*/ 53 w 106"/>
                <a:gd name="T25" fmla="*/ 25 h 145"/>
                <a:gd name="T26" fmla="*/ 35 w 106"/>
                <a:gd name="T27" fmla="*/ 32 h 145"/>
                <a:gd name="T28" fmla="*/ 28 w 106"/>
                <a:gd name="T29" fmla="*/ 72 h 145"/>
                <a:gd name="T30" fmla="*/ 35 w 106"/>
                <a:gd name="T31" fmla="*/ 112 h 145"/>
                <a:gd name="T32" fmla="*/ 53 w 106"/>
                <a:gd name="T33" fmla="*/ 120 h 145"/>
                <a:gd name="T34" fmla="*/ 71 w 106"/>
                <a:gd name="T35" fmla="*/ 112 h 145"/>
                <a:gd name="T36" fmla="*/ 78 w 106"/>
                <a:gd name="T37" fmla="*/ 72 h 145"/>
                <a:gd name="T38" fmla="*/ 71 w 106"/>
                <a:gd name="T39" fmla="*/ 32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6" h="145">
                  <a:moveTo>
                    <a:pt x="91" y="129"/>
                  </a:moveTo>
                  <a:lnTo>
                    <a:pt x="91" y="129"/>
                  </a:lnTo>
                  <a:cubicBezTo>
                    <a:pt x="81" y="139"/>
                    <a:pt x="69" y="145"/>
                    <a:pt x="53" y="145"/>
                  </a:cubicBezTo>
                  <a:cubicBezTo>
                    <a:pt x="37" y="145"/>
                    <a:pt x="24" y="139"/>
                    <a:pt x="14" y="129"/>
                  </a:cubicBezTo>
                  <a:cubicBezTo>
                    <a:pt x="0" y="115"/>
                    <a:pt x="0" y="97"/>
                    <a:pt x="0" y="72"/>
                  </a:cubicBezTo>
                  <a:cubicBezTo>
                    <a:pt x="0" y="48"/>
                    <a:pt x="0" y="30"/>
                    <a:pt x="14" y="16"/>
                  </a:cubicBezTo>
                  <a:cubicBezTo>
                    <a:pt x="24" y="6"/>
                    <a:pt x="37" y="0"/>
                    <a:pt x="53" y="0"/>
                  </a:cubicBezTo>
                  <a:cubicBezTo>
                    <a:pt x="69" y="0"/>
                    <a:pt x="81" y="6"/>
                    <a:pt x="91" y="16"/>
                  </a:cubicBezTo>
                  <a:cubicBezTo>
                    <a:pt x="106" y="30"/>
                    <a:pt x="105" y="48"/>
                    <a:pt x="105" y="72"/>
                  </a:cubicBezTo>
                  <a:cubicBezTo>
                    <a:pt x="105" y="97"/>
                    <a:pt x="106" y="115"/>
                    <a:pt x="91" y="129"/>
                  </a:cubicBezTo>
                  <a:close/>
                  <a:moveTo>
                    <a:pt x="71" y="32"/>
                  </a:moveTo>
                  <a:lnTo>
                    <a:pt x="71" y="32"/>
                  </a:lnTo>
                  <a:cubicBezTo>
                    <a:pt x="67" y="28"/>
                    <a:pt x="60" y="25"/>
                    <a:pt x="53" y="25"/>
                  </a:cubicBezTo>
                  <a:cubicBezTo>
                    <a:pt x="45" y="25"/>
                    <a:pt x="39" y="28"/>
                    <a:pt x="35" y="32"/>
                  </a:cubicBezTo>
                  <a:cubicBezTo>
                    <a:pt x="29" y="38"/>
                    <a:pt x="28" y="45"/>
                    <a:pt x="28" y="72"/>
                  </a:cubicBezTo>
                  <a:cubicBezTo>
                    <a:pt x="28" y="100"/>
                    <a:pt x="29" y="106"/>
                    <a:pt x="35" y="112"/>
                  </a:cubicBezTo>
                  <a:cubicBezTo>
                    <a:pt x="39" y="117"/>
                    <a:pt x="45" y="120"/>
                    <a:pt x="53" y="120"/>
                  </a:cubicBezTo>
                  <a:cubicBezTo>
                    <a:pt x="60" y="120"/>
                    <a:pt x="67" y="117"/>
                    <a:pt x="71" y="112"/>
                  </a:cubicBezTo>
                  <a:cubicBezTo>
                    <a:pt x="76" y="106"/>
                    <a:pt x="78" y="100"/>
                    <a:pt x="78" y="72"/>
                  </a:cubicBezTo>
                  <a:cubicBezTo>
                    <a:pt x="78" y="45"/>
                    <a:pt x="76" y="38"/>
                    <a:pt x="71" y="3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9" name="Freeform 53"/>
            <p:cNvSpPr>
              <a:spLocks/>
            </p:cNvSpPr>
            <p:nvPr/>
          </p:nvSpPr>
          <p:spPr bwMode="auto">
            <a:xfrm>
              <a:off x="8921750" y="-496888"/>
              <a:ext cx="93663" cy="130175"/>
            </a:xfrm>
            <a:custGeom>
              <a:avLst/>
              <a:gdLst>
                <a:gd name="T0" fmla="*/ 52 w 105"/>
                <a:gd name="T1" fmla="*/ 145 h 145"/>
                <a:gd name="T2" fmla="*/ 52 w 105"/>
                <a:gd name="T3" fmla="*/ 145 h 145"/>
                <a:gd name="T4" fmla="*/ 0 w 105"/>
                <a:gd name="T5" fmla="*/ 126 h 145"/>
                <a:gd name="T6" fmla="*/ 18 w 105"/>
                <a:gd name="T7" fmla="*/ 108 h 145"/>
                <a:gd name="T8" fmla="*/ 53 w 105"/>
                <a:gd name="T9" fmla="*/ 120 h 145"/>
                <a:gd name="T10" fmla="*/ 78 w 105"/>
                <a:gd name="T11" fmla="*/ 102 h 145"/>
                <a:gd name="T12" fmla="*/ 74 w 105"/>
                <a:gd name="T13" fmla="*/ 90 h 145"/>
                <a:gd name="T14" fmla="*/ 61 w 105"/>
                <a:gd name="T15" fmla="*/ 85 h 145"/>
                <a:gd name="T16" fmla="*/ 44 w 105"/>
                <a:gd name="T17" fmla="*/ 83 h 145"/>
                <a:gd name="T18" fmla="*/ 16 w 105"/>
                <a:gd name="T19" fmla="*/ 71 h 145"/>
                <a:gd name="T20" fmla="*/ 6 w 105"/>
                <a:gd name="T21" fmla="*/ 43 h 145"/>
                <a:gd name="T22" fmla="*/ 56 w 105"/>
                <a:gd name="T23" fmla="*/ 0 h 145"/>
                <a:gd name="T24" fmla="*/ 102 w 105"/>
                <a:gd name="T25" fmla="*/ 17 h 145"/>
                <a:gd name="T26" fmla="*/ 84 w 105"/>
                <a:gd name="T27" fmla="*/ 34 h 145"/>
                <a:gd name="T28" fmla="*/ 55 w 105"/>
                <a:gd name="T29" fmla="*/ 24 h 145"/>
                <a:gd name="T30" fmla="*/ 33 w 105"/>
                <a:gd name="T31" fmla="*/ 42 h 145"/>
                <a:gd name="T32" fmla="*/ 37 w 105"/>
                <a:gd name="T33" fmla="*/ 52 h 145"/>
                <a:gd name="T34" fmla="*/ 50 w 105"/>
                <a:gd name="T35" fmla="*/ 58 h 145"/>
                <a:gd name="T36" fmla="*/ 67 w 105"/>
                <a:gd name="T37" fmla="*/ 60 h 145"/>
                <a:gd name="T38" fmla="*/ 94 w 105"/>
                <a:gd name="T39" fmla="*/ 71 h 145"/>
                <a:gd name="T40" fmla="*/ 105 w 105"/>
                <a:gd name="T41" fmla="*/ 102 h 145"/>
                <a:gd name="T42" fmla="*/ 52 w 105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5" h="145">
                  <a:moveTo>
                    <a:pt x="52" y="145"/>
                  </a:moveTo>
                  <a:lnTo>
                    <a:pt x="52" y="145"/>
                  </a:lnTo>
                  <a:cubicBezTo>
                    <a:pt x="31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40" y="120"/>
                    <a:pt x="53" y="120"/>
                  </a:cubicBezTo>
                  <a:cubicBezTo>
                    <a:pt x="69" y="120"/>
                    <a:pt x="78" y="114"/>
                    <a:pt x="78" y="102"/>
                  </a:cubicBezTo>
                  <a:cubicBezTo>
                    <a:pt x="78" y="97"/>
                    <a:pt x="77" y="93"/>
                    <a:pt x="74" y="90"/>
                  </a:cubicBezTo>
                  <a:cubicBezTo>
                    <a:pt x="71" y="88"/>
                    <a:pt x="68" y="86"/>
                    <a:pt x="61" y="85"/>
                  </a:cubicBezTo>
                  <a:lnTo>
                    <a:pt x="44" y="83"/>
                  </a:lnTo>
                  <a:cubicBezTo>
                    <a:pt x="32" y="81"/>
                    <a:pt x="23" y="77"/>
                    <a:pt x="16" y="71"/>
                  </a:cubicBezTo>
                  <a:cubicBezTo>
                    <a:pt x="9" y="65"/>
                    <a:pt x="6" y="55"/>
                    <a:pt x="6" y="43"/>
                  </a:cubicBezTo>
                  <a:cubicBezTo>
                    <a:pt x="6" y="18"/>
                    <a:pt x="25" y="0"/>
                    <a:pt x="56" y="0"/>
                  </a:cubicBezTo>
                  <a:cubicBezTo>
                    <a:pt x="75" y="0"/>
                    <a:pt x="89" y="5"/>
                    <a:pt x="102" y="17"/>
                  </a:cubicBezTo>
                  <a:lnTo>
                    <a:pt x="84" y="34"/>
                  </a:lnTo>
                  <a:cubicBezTo>
                    <a:pt x="75" y="26"/>
                    <a:pt x="64" y="24"/>
                    <a:pt x="55" y="24"/>
                  </a:cubicBezTo>
                  <a:cubicBezTo>
                    <a:pt x="40" y="24"/>
                    <a:pt x="33" y="32"/>
                    <a:pt x="33" y="42"/>
                  </a:cubicBezTo>
                  <a:cubicBezTo>
                    <a:pt x="33" y="46"/>
                    <a:pt x="34" y="50"/>
                    <a:pt x="37" y="52"/>
                  </a:cubicBezTo>
                  <a:cubicBezTo>
                    <a:pt x="40" y="55"/>
                    <a:pt x="44" y="57"/>
                    <a:pt x="50" y="58"/>
                  </a:cubicBezTo>
                  <a:lnTo>
                    <a:pt x="67" y="60"/>
                  </a:lnTo>
                  <a:cubicBezTo>
                    <a:pt x="80" y="62"/>
                    <a:pt x="88" y="66"/>
                    <a:pt x="94" y="71"/>
                  </a:cubicBezTo>
                  <a:cubicBezTo>
                    <a:pt x="102" y="79"/>
                    <a:pt x="105" y="89"/>
                    <a:pt x="105" y="102"/>
                  </a:cubicBezTo>
                  <a:cubicBezTo>
                    <a:pt x="105" y="129"/>
                    <a:pt x="82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0" name="Freeform 54"/>
            <p:cNvSpPr>
              <a:spLocks noEditPoints="1"/>
            </p:cNvSpPr>
            <p:nvPr/>
          </p:nvSpPr>
          <p:spPr bwMode="auto">
            <a:xfrm>
              <a:off x="9024938" y="-495301"/>
              <a:ext cx="112713" cy="128588"/>
            </a:xfrm>
            <a:custGeom>
              <a:avLst/>
              <a:gdLst>
                <a:gd name="T0" fmla="*/ 97 w 126"/>
                <a:gd name="T1" fmla="*/ 143 h 143"/>
                <a:gd name="T2" fmla="*/ 97 w 126"/>
                <a:gd name="T3" fmla="*/ 143 h 143"/>
                <a:gd name="T4" fmla="*/ 89 w 126"/>
                <a:gd name="T5" fmla="*/ 117 h 143"/>
                <a:gd name="T6" fmla="*/ 38 w 126"/>
                <a:gd name="T7" fmla="*/ 117 h 143"/>
                <a:gd name="T8" fmla="*/ 29 w 126"/>
                <a:gd name="T9" fmla="*/ 143 h 143"/>
                <a:gd name="T10" fmla="*/ 0 w 126"/>
                <a:gd name="T11" fmla="*/ 143 h 143"/>
                <a:gd name="T12" fmla="*/ 52 w 126"/>
                <a:gd name="T13" fmla="*/ 0 h 143"/>
                <a:gd name="T14" fmla="*/ 74 w 126"/>
                <a:gd name="T15" fmla="*/ 0 h 143"/>
                <a:gd name="T16" fmla="*/ 126 w 126"/>
                <a:gd name="T17" fmla="*/ 143 h 143"/>
                <a:gd name="T18" fmla="*/ 97 w 126"/>
                <a:gd name="T19" fmla="*/ 143 h 143"/>
                <a:gd name="T20" fmla="*/ 64 w 126"/>
                <a:gd name="T21" fmla="*/ 42 h 143"/>
                <a:gd name="T22" fmla="*/ 64 w 126"/>
                <a:gd name="T23" fmla="*/ 42 h 143"/>
                <a:gd name="T24" fmla="*/ 46 w 126"/>
                <a:gd name="T25" fmla="*/ 94 h 143"/>
                <a:gd name="T26" fmla="*/ 81 w 126"/>
                <a:gd name="T27" fmla="*/ 94 h 143"/>
                <a:gd name="T28" fmla="*/ 64 w 126"/>
                <a:gd name="T29" fmla="*/ 4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6" h="143">
                  <a:moveTo>
                    <a:pt x="97" y="143"/>
                  </a:moveTo>
                  <a:lnTo>
                    <a:pt x="97" y="143"/>
                  </a:lnTo>
                  <a:lnTo>
                    <a:pt x="89" y="117"/>
                  </a:lnTo>
                  <a:lnTo>
                    <a:pt x="38" y="117"/>
                  </a:lnTo>
                  <a:lnTo>
                    <a:pt x="29" y="143"/>
                  </a:lnTo>
                  <a:lnTo>
                    <a:pt x="0" y="143"/>
                  </a:lnTo>
                  <a:lnTo>
                    <a:pt x="52" y="0"/>
                  </a:lnTo>
                  <a:lnTo>
                    <a:pt x="74" y="0"/>
                  </a:lnTo>
                  <a:lnTo>
                    <a:pt x="126" y="143"/>
                  </a:lnTo>
                  <a:lnTo>
                    <a:pt x="97" y="143"/>
                  </a:lnTo>
                  <a:close/>
                  <a:moveTo>
                    <a:pt x="64" y="42"/>
                  </a:moveTo>
                  <a:lnTo>
                    <a:pt x="64" y="42"/>
                  </a:lnTo>
                  <a:lnTo>
                    <a:pt x="46" y="94"/>
                  </a:lnTo>
                  <a:lnTo>
                    <a:pt x="81" y="94"/>
                  </a:lnTo>
                  <a:lnTo>
                    <a:pt x="64" y="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1" name="Freeform 55"/>
            <p:cNvSpPr>
              <a:spLocks/>
            </p:cNvSpPr>
            <p:nvPr/>
          </p:nvSpPr>
          <p:spPr bwMode="auto">
            <a:xfrm>
              <a:off x="9155113" y="-495301"/>
              <a:ext cx="82550" cy="128588"/>
            </a:xfrm>
            <a:custGeom>
              <a:avLst/>
              <a:gdLst>
                <a:gd name="T0" fmla="*/ 0 w 92"/>
                <a:gd name="T1" fmla="*/ 0 h 143"/>
                <a:gd name="T2" fmla="*/ 0 w 92"/>
                <a:gd name="T3" fmla="*/ 0 h 143"/>
                <a:gd name="T4" fmla="*/ 0 w 92"/>
                <a:gd name="T5" fmla="*/ 143 h 143"/>
                <a:gd name="T6" fmla="*/ 92 w 92"/>
                <a:gd name="T7" fmla="*/ 143 h 143"/>
                <a:gd name="T8" fmla="*/ 92 w 92"/>
                <a:gd name="T9" fmla="*/ 118 h 143"/>
                <a:gd name="T10" fmla="*/ 28 w 92"/>
                <a:gd name="T11" fmla="*/ 118 h 143"/>
                <a:gd name="T12" fmla="*/ 28 w 92"/>
                <a:gd name="T13" fmla="*/ 0 h 143"/>
                <a:gd name="T14" fmla="*/ 0 w 92"/>
                <a:gd name="T1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143">
                  <a:moveTo>
                    <a:pt x="0" y="0"/>
                  </a:moveTo>
                  <a:lnTo>
                    <a:pt x="0" y="0"/>
                  </a:lnTo>
                  <a:lnTo>
                    <a:pt x="0" y="143"/>
                  </a:lnTo>
                  <a:lnTo>
                    <a:pt x="92" y="143"/>
                  </a:lnTo>
                  <a:lnTo>
                    <a:pt x="92" y="118"/>
                  </a:lnTo>
                  <a:lnTo>
                    <a:pt x="28" y="118"/>
                  </a:lnTo>
                  <a:lnTo>
                    <a:pt x="2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52" name="Reuse/Disposal"/>
          <p:cNvGrpSpPr/>
          <p:nvPr/>
        </p:nvGrpSpPr>
        <p:grpSpPr>
          <a:xfrm>
            <a:off x="7479799" y="2253824"/>
            <a:ext cx="1170319" cy="125437"/>
            <a:chOff x="7800975" y="-508001"/>
            <a:chExt cx="1436688" cy="153988"/>
          </a:xfrm>
          <a:solidFill>
            <a:schemeClr val="accent3">
              <a:lumMod val="75000"/>
            </a:schemeClr>
          </a:solidFill>
        </p:grpSpPr>
        <p:sp>
          <p:nvSpPr>
            <p:cNvPr id="172" name="Freeform 42"/>
            <p:cNvSpPr>
              <a:spLocks noEditPoints="1"/>
            </p:cNvSpPr>
            <p:nvPr/>
          </p:nvSpPr>
          <p:spPr bwMode="auto">
            <a:xfrm>
              <a:off x="7800975" y="-495301"/>
              <a:ext cx="95250" cy="128588"/>
            </a:xfrm>
            <a:custGeom>
              <a:avLst/>
              <a:gdLst>
                <a:gd name="T0" fmla="*/ 76 w 108"/>
                <a:gd name="T1" fmla="*/ 143 h 143"/>
                <a:gd name="T2" fmla="*/ 76 w 108"/>
                <a:gd name="T3" fmla="*/ 143 h 143"/>
                <a:gd name="T4" fmla="*/ 48 w 108"/>
                <a:gd name="T5" fmla="*/ 86 h 143"/>
                <a:gd name="T6" fmla="*/ 28 w 108"/>
                <a:gd name="T7" fmla="*/ 86 h 143"/>
                <a:gd name="T8" fmla="*/ 28 w 108"/>
                <a:gd name="T9" fmla="*/ 143 h 143"/>
                <a:gd name="T10" fmla="*/ 0 w 108"/>
                <a:gd name="T11" fmla="*/ 143 h 143"/>
                <a:gd name="T12" fmla="*/ 0 w 108"/>
                <a:gd name="T13" fmla="*/ 0 h 143"/>
                <a:gd name="T14" fmla="*/ 56 w 108"/>
                <a:gd name="T15" fmla="*/ 0 h 143"/>
                <a:gd name="T16" fmla="*/ 102 w 108"/>
                <a:gd name="T17" fmla="*/ 44 h 143"/>
                <a:gd name="T18" fmla="*/ 76 w 108"/>
                <a:gd name="T19" fmla="*/ 81 h 143"/>
                <a:gd name="T20" fmla="*/ 108 w 108"/>
                <a:gd name="T21" fmla="*/ 143 h 143"/>
                <a:gd name="T22" fmla="*/ 76 w 108"/>
                <a:gd name="T23" fmla="*/ 143 h 143"/>
                <a:gd name="T24" fmla="*/ 54 w 108"/>
                <a:gd name="T25" fmla="*/ 25 h 143"/>
                <a:gd name="T26" fmla="*/ 54 w 108"/>
                <a:gd name="T27" fmla="*/ 25 h 143"/>
                <a:gd name="T28" fmla="*/ 28 w 108"/>
                <a:gd name="T29" fmla="*/ 25 h 143"/>
                <a:gd name="T30" fmla="*/ 28 w 108"/>
                <a:gd name="T31" fmla="*/ 63 h 143"/>
                <a:gd name="T32" fmla="*/ 54 w 108"/>
                <a:gd name="T33" fmla="*/ 63 h 143"/>
                <a:gd name="T34" fmla="*/ 74 w 108"/>
                <a:gd name="T35" fmla="*/ 44 h 143"/>
                <a:gd name="T36" fmla="*/ 54 w 108"/>
                <a:gd name="T37" fmla="*/ 2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8" h="143">
                  <a:moveTo>
                    <a:pt x="76" y="143"/>
                  </a:moveTo>
                  <a:lnTo>
                    <a:pt x="76" y="143"/>
                  </a:lnTo>
                  <a:lnTo>
                    <a:pt x="48" y="86"/>
                  </a:lnTo>
                  <a:lnTo>
                    <a:pt x="28" y="86"/>
                  </a:lnTo>
                  <a:lnTo>
                    <a:pt x="28" y="143"/>
                  </a:lnTo>
                  <a:lnTo>
                    <a:pt x="0" y="143"/>
                  </a:lnTo>
                  <a:lnTo>
                    <a:pt x="0" y="0"/>
                  </a:lnTo>
                  <a:lnTo>
                    <a:pt x="56" y="0"/>
                  </a:lnTo>
                  <a:cubicBezTo>
                    <a:pt x="85" y="0"/>
                    <a:pt x="102" y="20"/>
                    <a:pt x="102" y="44"/>
                  </a:cubicBezTo>
                  <a:cubicBezTo>
                    <a:pt x="102" y="64"/>
                    <a:pt x="90" y="76"/>
                    <a:pt x="76" y="81"/>
                  </a:cubicBezTo>
                  <a:lnTo>
                    <a:pt x="108" y="143"/>
                  </a:lnTo>
                  <a:lnTo>
                    <a:pt x="76" y="143"/>
                  </a:lnTo>
                  <a:close/>
                  <a:moveTo>
                    <a:pt x="54" y="25"/>
                  </a:moveTo>
                  <a:lnTo>
                    <a:pt x="54" y="25"/>
                  </a:lnTo>
                  <a:lnTo>
                    <a:pt x="28" y="25"/>
                  </a:lnTo>
                  <a:lnTo>
                    <a:pt x="28" y="63"/>
                  </a:lnTo>
                  <a:lnTo>
                    <a:pt x="54" y="63"/>
                  </a:lnTo>
                  <a:cubicBezTo>
                    <a:pt x="66" y="63"/>
                    <a:pt x="74" y="55"/>
                    <a:pt x="74" y="44"/>
                  </a:cubicBezTo>
                  <a:cubicBezTo>
                    <a:pt x="74" y="33"/>
                    <a:pt x="66" y="25"/>
                    <a:pt x="54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3" name="Freeform 43"/>
            <p:cNvSpPr>
              <a:spLocks/>
            </p:cNvSpPr>
            <p:nvPr/>
          </p:nvSpPr>
          <p:spPr bwMode="auto">
            <a:xfrm>
              <a:off x="7916863" y="-495301"/>
              <a:ext cx="84138" cy="128588"/>
            </a:xfrm>
            <a:custGeom>
              <a:avLst/>
              <a:gdLst>
                <a:gd name="T0" fmla="*/ 0 w 94"/>
                <a:gd name="T1" fmla="*/ 143 h 143"/>
                <a:gd name="T2" fmla="*/ 0 w 94"/>
                <a:gd name="T3" fmla="*/ 143 h 143"/>
                <a:gd name="T4" fmla="*/ 0 w 94"/>
                <a:gd name="T5" fmla="*/ 0 h 143"/>
                <a:gd name="T6" fmla="*/ 94 w 94"/>
                <a:gd name="T7" fmla="*/ 0 h 143"/>
                <a:gd name="T8" fmla="*/ 94 w 94"/>
                <a:gd name="T9" fmla="*/ 25 h 143"/>
                <a:gd name="T10" fmla="*/ 28 w 94"/>
                <a:gd name="T11" fmla="*/ 25 h 143"/>
                <a:gd name="T12" fmla="*/ 28 w 94"/>
                <a:gd name="T13" fmla="*/ 59 h 143"/>
                <a:gd name="T14" fmla="*/ 84 w 94"/>
                <a:gd name="T15" fmla="*/ 59 h 143"/>
                <a:gd name="T16" fmla="*/ 84 w 94"/>
                <a:gd name="T17" fmla="*/ 83 h 143"/>
                <a:gd name="T18" fmla="*/ 28 w 94"/>
                <a:gd name="T19" fmla="*/ 83 h 143"/>
                <a:gd name="T20" fmla="*/ 28 w 94"/>
                <a:gd name="T21" fmla="*/ 118 h 143"/>
                <a:gd name="T22" fmla="*/ 94 w 94"/>
                <a:gd name="T23" fmla="*/ 118 h 143"/>
                <a:gd name="T24" fmla="*/ 94 w 94"/>
                <a:gd name="T25" fmla="*/ 143 h 143"/>
                <a:gd name="T26" fmla="*/ 0 w 94"/>
                <a:gd name="T27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4" h="143">
                  <a:moveTo>
                    <a:pt x="0" y="143"/>
                  </a:moveTo>
                  <a:lnTo>
                    <a:pt x="0" y="14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25"/>
                  </a:lnTo>
                  <a:lnTo>
                    <a:pt x="28" y="25"/>
                  </a:lnTo>
                  <a:lnTo>
                    <a:pt x="28" y="59"/>
                  </a:lnTo>
                  <a:lnTo>
                    <a:pt x="84" y="59"/>
                  </a:lnTo>
                  <a:lnTo>
                    <a:pt x="84" y="83"/>
                  </a:lnTo>
                  <a:lnTo>
                    <a:pt x="28" y="83"/>
                  </a:lnTo>
                  <a:lnTo>
                    <a:pt x="28" y="118"/>
                  </a:lnTo>
                  <a:lnTo>
                    <a:pt x="94" y="118"/>
                  </a:lnTo>
                  <a:lnTo>
                    <a:pt x="94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4" name="Freeform 44"/>
            <p:cNvSpPr>
              <a:spLocks/>
            </p:cNvSpPr>
            <p:nvPr/>
          </p:nvSpPr>
          <p:spPr bwMode="auto">
            <a:xfrm>
              <a:off x="8021638" y="-495301"/>
              <a:ext cx="93663" cy="128588"/>
            </a:xfrm>
            <a:custGeom>
              <a:avLst/>
              <a:gdLst>
                <a:gd name="T0" fmla="*/ 53 w 105"/>
                <a:gd name="T1" fmla="*/ 144 h 144"/>
                <a:gd name="T2" fmla="*/ 53 w 105"/>
                <a:gd name="T3" fmla="*/ 144 h 144"/>
                <a:gd name="T4" fmla="*/ 0 w 105"/>
                <a:gd name="T5" fmla="*/ 94 h 144"/>
                <a:gd name="T6" fmla="*/ 0 w 105"/>
                <a:gd name="T7" fmla="*/ 0 h 144"/>
                <a:gd name="T8" fmla="*/ 28 w 105"/>
                <a:gd name="T9" fmla="*/ 0 h 144"/>
                <a:gd name="T10" fmla="*/ 28 w 105"/>
                <a:gd name="T11" fmla="*/ 93 h 144"/>
                <a:gd name="T12" fmla="*/ 53 w 105"/>
                <a:gd name="T13" fmla="*/ 119 h 144"/>
                <a:gd name="T14" fmla="*/ 77 w 105"/>
                <a:gd name="T15" fmla="*/ 93 h 144"/>
                <a:gd name="T16" fmla="*/ 77 w 105"/>
                <a:gd name="T17" fmla="*/ 0 h 144"/>
                <a:gd name="T18" fmla="*/ 105 w 105"/>
                <a:gd name="T19" fmla="*/ 0 h 144"/>
                <a:gd name="T20" fmla="*/ 105 w 105"/>
                <a:gd name="T21" fmla="*/ 94 h 144"/>
                <a:gd name="T22" fmla="*/ 53 w 105"/>
                <a:gd name="T2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5" h="144">
                  <a:moveTo>
                    <a:pt x="53" y="144"/>
                  </a:moveTo>
                  <a:lnTo>
                    <a:pt x="53" y="144"/>
                  </a:lnTo>
                  <a:cubicBezTo>
                    <a:pt x="23" y="144"/>
                    <a:pt x="0" y="124"/>
                    <a:pt x="0" y="94"/>
                  </a:cubicBezTo>
                  <a:lnTo>
                    <a:pt x="0" y="0"/>
                  </a:lnTo>
                  <a:lnTo>
                    <a:pt x="28" y="0"/>
                  </a:lnTo>
                  <a:lnTo>
                    <a:pt x="28" y="93"/>
                  </a:lnTo>
                  <a:cubicBezTo>
                    <a:pt x="28" y="109"/>
                    <a:pt x="38" y="119"/>
                    <a:pt x="53" y="119"/>
                  </a:cubicBezTo>
                  <a:cubicBezTo>
                    <a:pt x="68" y="119"/>
                    <a:pt x="77" y="109"/>
                    <a:pt x="77" y="93"/>
                  </a:cubicBezTo>
                  <a:lnTo>
                    <a:pt x="77" y="0"/>
                  </a:lnTo>
                  <a:lnTo>
                    <a:pt x="105" y="0"/>
                  </a:lnTo>
                  <a:lnTo>
                    <a:pt x="105" y="94"/>
                  </a:lnTo>
                  <a:cubicBezTo>
                    <a:pt x="105" y="124"/>
                    <a:pt x="82" y="144"/>
                    <a:pt x="53" y="1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5" name="Freeform 45"/>
            <p:cNvSpPr>
              <a:spLocks/>
            </p:cNvSpPr>
            <p:nvPr/>
          </p:nvSpPr>
          <p:spPr bwMode="auto">
            <a:xfrm>
              <a:off x="8131175" y="-496888"/>
              <a:ext cx="92075" cy="130175"/>
            </a:xfrm>
            <a:custGeom>
              <a:avLst/>
              <a:gdLst>
                <a:gd name="T0" fmla="*/ 52 w 104"/>
                <a:gd name="T1" fmla="*/ 145 h 145"/>
                <a:gd name="T2" fmla="*/ 52 w 104"/>
                <a:gd name="T3" fmla="*/ 145 h 145"/>
                <a:gd name="T4" fmla="*/ 0 w 104"/>
                <a:gd name="T5" fmla="*/ 126 h 145"/>
                <a:gd name="T6" fmla="*/ 18 w 104"/>
                <a:gd name="T7" fmla="*/ 108 h 145"/>
                <a:gd name="T8" fmla="*/ 52 w 104"/>
                <a:gd name="T9" fmla="*/ 120 h 145"/>
                <a:gd name="T10" fmla="*/ 77 w 104"/>
                <a:gd name="T11" fmla="*/ 102 h 145"/>
                <a:gd name="T12" fmla="*/ 73 w 104"/>
                <a:gd name="T13" fmla="*/ 90 h 145"/>
                <a:gd name="T14" fmla="*/ 60 w 104"/>
                <a:gd name="T15" fmla="*/ 85 h 145"/>
                <a:gd name="T16" fmla="*/ 43 w 104"/>
                <a:gd name="T17" fmla="*/ 83 h 145"/>
                <a:gd name="T18" fmla="*/ 15 w 104"/>
                <a:gd name="T19" fmla="*/ 71 h 145"/>
                <a:gd name="T20" fmla="*/ 5 w 104"/>
                <a:gd name="T21" fmla="*/ 43 h 145"/>
                <a:gd name="T22" fmla="*/ 55 w 104"/>
                <a:gd name="T23" fmla="*/ 0 h 145"/>
                <a:gd name="T24" fmla="*/ 101 w 104"/>
                <a:gd name="T25" fmla="*/ 17 h 145"/>
                <a:gd name="T26" fmla="*/ 83 w 104"/>
                <a:gd name="T27" fmla="*/ 34 h 145"/>
                <a:gd name="T28" fmla="*/ 54 w 104"/>
                <a:gd name="T29" fmla="*/ 24 h 145"/>
                <a:gd name="T30" fmla="*/ 32 w 104"/>
                <a:gd name="T31" fmla="*/ 42 h 145"/>
                <a:gd name="T32" fmla="*/ 36 w 104"/>
                <a:gd name="T33" fmla="*/ 52 h 145"/>
                <a:gd name="T34" fmla="*/ 49 w 104"/>
                <a:gd name="T35" fmla="*/ 58 h 145"/>
                <a:gd name="T36" fmla="*/ 66 w 104"/>
                <a:gd name="T37" fmla="*/ 60 h 145"/>
                <a:gd name="T38" fmla="*/ 93 w 104"/>
                <a:gd name="T39" fmla="*/ 71 h 145"/>
                <a:gd name="T40" fmla="*/ 104 w 104"/>
                <a:gd name="T41" fmla="*/ 102 h 145"/>
                <a:gd name="T42" fmla="*/ 52 w 104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4" h="145">
                  <a:moveTo>
                    <a:pt x="52" y="145"/>
                  </a:moveTo>
                  <a:lnTo>
                    <a:pt x="52" y="145"/>
                  </a:lnTo>
                  <a:cubicBezTo>
                    <a:pt x="30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39" y="120"/>
                    <a:pt x="52" y="120"/>
                  </a:cubicBezTo>
                  <a:cubicBezTo>
                    <a:pt x="68" y="120"/>
                    <a:pt x="77" y="114"/>
                    <a:pt x="77" y="102"/>
                  </a:cubicBezTo>
                  <a:cubicBezTo>
                    <a:pt x="77" y="97"/>
                    <a:pt x="76" y="93"/>
                    <a:pt x="73" y="90"/>
                  </a:cubicBezTo>
                  <a:cubicBezTo>
                    <a:pt x="70" y="88"/>
                    <a:pt x="67" y="86"/>
                    <a:pt x="60" y="85"/>
                  </a:cubicBezTo>
                  <a:lnTo>
                    <a:pt x="43" y="83"/>
                  </a:lnTo>
                  <a:cubicBezTo>
                    <a:pt x="31" y="81"/>
                    <a:pt x="22" y="77"/>
                    <a:pt x="15" y="71"/>
                  </a:cubicBezTo>
                  <a:cubicBezTo>
                    <a:pt x="9" y="65"/>
                    <a:pt x="5" y="55"/>
                    <a:pt x="5" y="43"/>
                  </a:cubicBezTo>
                  <a:cubicBezTo>
                    <a:pt x="5" y="18"/>
                    <a:pt x="24" y="0"/>
                    <a:pt x="55" y="0"/>
                  </a:cubicBezTo>
                  <a:cubicBezTo>
                    <a:pt x="74" y="0"/>
                    <a:pt x="89" y="5"/>
                    <a:pt x="101" y="17"/>
                  </a:cubicBezTo>
                  <a:lnTo>
                    <a:pt x="83" y="34"/>
                  </a:lnTo>
                  <a:cubicBezTo>
                    <a:pt x="74" y="26"/>
                    <a:pt x="63" y="24"/>
                    <a:pt x="54" y="24"/>
                  </a:cubicBezTo>
                  <a:cubicBezTo>
                    <a:pt x="39" y="24"/>
                    <a:pt x="32" y="32"/>
                    <a:pt x="32" y="42"/>
                  </a:cubicBezTo>
                  <a:cubicBezTo>
                    <a:pt x="32" y="46"/>
                    <a:pt x="33" y="50"/>
                    <a:pt x="36" y="52"/>
                  </a:cubicBezTo>
                  <a:cubicBezTo>
                    <a:pt x="39" y="55"/>
                    <a:pt x="44" y="57"/>
                    <a:pt x="49" y="58"/>
                  </a:cubicBezTo>
                  <a:lnTo>
                    <a:pt x="66" y="60"/>
                  </a:lnTo>
                  <a:cubicBezTo>
                    <a:pt x="79" y="62"/>
                    <a:pt x="87" y="66"/>
                    <a:pt x="93" y="71"/>
                  </a:cubicBezTo>
                  <a:cubicBezTo>
                    <a:pt x="101" y="79"/>
                    <a:pt x="104" y="89"/>
                    <a:pt x="104" y="102"/>
                  </a:cubicBezTo>
                  <a:cubicBezTo>
                    <a:pt x="104" y="129"/>
                    <a:pt x="81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6" name="Freeform 46"/>
            <p:cNvSpPr>
              <a:spLocks/>
            </p:cNvSpPr>
            <p:nvPr/>
          </p:nvSpPr>
          <p:spPr bwMode="auto">
            <a:xfrm>
              <a:off x="8245475" y="-495301"/>
              <a:ext cx="84138" cy="128588"/>
            </a:xfrm>
            <a:custGeom>
              <a:avLst/>
              <a:gdLst>
                <a:gd name="T0" fmla="*/ 0 w 93"/>
                <a:gd name="T1" fmla="*/ 143 h 143"/>
                <a:gd name="T2" fmla="*/ 0 w 93"/>
                <a:gd name="T3" fmla="*/ 143 h 143"/>
                <a:gd name="T4" fmla="*/ 0 w 93"/>
                <a:gd name="T5" fmla="*/ 0 h 143"/>
                <a:gd name="T6" fmla="*/ 93 w 93"/>
                <a:gd name="T7" fmla="*/ 0 h 143"/>
                <a:gd name="T8" fmla="*/ 93 w 93"/>
                <a:gd name="T9" fmla="*/ 25 h 143"/>
                <a:gd name="T10" fmla="*/ 27 w 93"/>
                <a:gd name="T11" fmla="*/ 25 h 143"/>
                <a:gd name="T12" fmla="*/ 27 w 93"/>
                <a:gd name="T13" fmla="*/ 59 h 143"/>
                <a:gd name="T14" fmla="*/ 84 w 93"/>
                <a:gd name="T15" fmla="*/ 59 h 143"/>
                <a:gd name="T16" fmla="*/ 84 w 93"/>
                <a:gd name="T17" fmla="*/ 83 h 143"/>
                <a:gd name="T18" fmla="*/ 27 w 93"/>
                <a:gd name="T19" fmla="*/ 83 h 143"/>
                <a:gd name="T20" fmla="*/ 27 w 93"/>
                <a:gd name="T21" fmla="*/ 118 h 143"/>
                <a:gd name="T22" fmla="*/ 93 w 93"/>
                <a:gd name="T23" fmla="*/ 118 h 143"/>
                <a:gd name="T24" fmla="*/ 93 w 93"/>
                <a:gd name="T25" fmla="*/ 143 h 143"/>
                <a:gd name="T26" fmla="*/ 0 w 93"/>
                <a:gd name="T27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3" h="143">
                  <a:moveTo>
                    <a:pt x="0" y="143"/>
                  </a:moveTo>
                  <a:lnTo>
                    <a:pt x="0" y="143"/>
                  </a:lnTo>
                  <a:lnTo>
                    <a:pt x="0" y="0"/>
                  </a:lnTo>
                  <a:lnTo>
                    <a:pt x="93" y="0"/>
                  </a:lnTo>
                  <a:lnTo>
                    <a:pt x="93" y="25"/>
                  </a:lnTo>
                  <a:lnTo>
                    <a:pt x="27" y="25"/>
                  </a:lnTo>
                  <a:lnTo>
                    <a:pt x="27" y="59"/>
                  </a:lnTo>
                  <a:lnTo>
                    <a:pt x="84" y="59"/>
                  </a:lnTo>
                  <a:lnTo>
                    <a:pt x="84" y="83"/>
                  </a:lnTo>
                  <a:lnTo>
                    <a:pt x="27" y="83"/>
                  </a:lnTo>
                  <a:lnTo>
                    <a:pt x="27" y="118"/>
                  </a:lnTo>
                  <a:lnTo>
                    <a:pt x="93" y="118"/>
                  </a:lnTo>
                  <a:lnTo>
                    <a:pt x="93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7" name="Freeform 47"/>
            <p:cNvSpPr>
              <a:spLocks/>
            </p:cNvSpPr>
            <p:nvPr/>
          </p:nvSpPr>
          <p:spPr bwMode="auto">
            <a:xfrm>
              <a:off x="8342313" y="-508001"/>
              <a:ext cx="71438" cy="153988"/>
            </a:xfrm>
            <a:custGeom>
              <a:avLst/>
              <a:gdLst>
                <a:gd name="T0" fmla="*/ 57 w 81"/>
                <a:gd name="T1" fmla="*/ 0 h 172"/>
                <a:gd name="T2" fmla="*/ 57 w 81"/>
                <a:gd name="T3" fmla="*/ 0 h 172"/>
                <a:gd name="T4" fmla="*/ 0 w 81"/>
                <a:gd name="T5" fmla="*/ 172 h 172"/>
                <a:gd name="T6" fmla="*/ 24 w 81"/>
                <a:gd name="T7" fmla="*/ 172 h 172"/>
                <a:gd name="T8" fmla="*/ 81 w 81"/>
                <a:gd name="T9" fmla="*/ 0 h 172"/>
                <a:gd name="T10" fmla="*/ 57 w 81"/>
                <a:gd name="T11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172">
                  <a:moveTo>
                    <a:pt x="57" y="0"/>
                  </a:moveTo>
                  <a:lnTo>
                    <a:pt x="57" y="0"/>
                  </a:lnTo>
                  <a:lnTo>
                    <a:pt x="0" y="172"/>
                  </a:lnTo>
                  <a:lnTo>
                    <a:pt x="24" y="172"/>
                  </a:lnTo>
                  <a:lnTo>
                    <a:pt x="81" y="0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8" name="Freeform 48"/>
            <p:cNvSpPr>
              <a:spLocks noEditPoints="1"/>
            </p:cNvSpPr>
            <p:nvPr/>
          </p:nvSpPr>
          <p:spPr bwMode="auto">
            <a:xfrm>
              <a:off x="8429625" y="-495301"/>
              <a:ext cx="93663" cy="128588"/>
            </a:xfrm>
            <a:custGeom>
              <a:avLst/>
              <a:gdLst>
                <a:gd name="T0" fmla="*/ 89 w 105"/>
                <a:gd name="T1" fmla="*/ 129 h 143"/>
                <a:gd name="T2" fmla="*/ 89 w 105"/>
                <a:gd name="T3" fmla="*/ 129 h 143"/>
                <a:gd name="T4" fmla="*/ 51 w 105"/>
                <a:gd name="T5" fmla="*/ 143 h 143"/>
                <a:gd name="T6" fmla="*/ 0 w 105"/>
                <a:gd name="T7" fmla="*/ 143 h 143"/>
                <a:gd name="T8" fmla="*/ 0 w 105"/>
                <a:gd name="T9" fmla="*/ 0 h 143"/>
                <a:gd name="T10" fmla="*/ 51 w 105"/>
                <a:gd name="T11" fmla="*/ 0 h 143"/>
                <a:gd name="T12" fmla="*/ 89 w 105"/>
                <a:gd name="T13" fmla="*/ 14 h 143"/>
                <a:gd name="T14" fmla="*/ 103 w 105"/>
                <a:gd name="T15" fmla="*/ 71 h 143"/>
                <a:gd name="T16" fmla="*/ 89 w 105"/>
                <a:gd name="T17" fmla="*/ 129 h 143"/>
                <a:gd name="T18" fmla="*/ 69 w 105"/>
                <a:gd name="T19" fmla="*/ 34 h 143"/>
                <a:gd name="T20" fmla="*/ 69 w 105"/>
                <a:gd name="T21" fmla="*/ 34 h 143"/>
                <a:gd name="T22" fmla="*/ 48 w 105"/>
                <a:gd name="T23" fmla="*/ 25 h 143"/>
                <a:gd name="T24" fmla="*/ 27 w 105"/>
                <a:gd name="T25" fmla="*/ 25 h 143"/>
                <a:gd name="T26" fmla="*/ 27 w 105"/>
                <a:gd name="T27" fmla="*/ 118 h 143"/>
                <a:gd name="T28" fmla="*/ 48 w 105"/>
                <a:gd name="T29" fmla="*/ 118 h 143"/>
                <a:gd name="T30" fmla="*/ 69 w 105"/>
                <a:gd name="T31" fmla="*/ 109 h 143"/>
                <a:gd name="T32" fmla="*/ 75 w 105"/>
                <a:gd name="T33" fmla="*/ 71 h 143"/>
                <a:gd name="T34" fmla="*/ 69 w 105"/>
                <a:gd name="T35" fmla="*/ 3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" h="143">
                  <a:moveTo>
                    <a:pt x="89" y="129"/>
                  </a:moveTo>
                  <a:lnTo>
                    <a:pt x="89" y="129"/>
                  </a:lnTo>
                  <a:cubicBezTo>
                    <a:pt x="79" y="138"/>
                    <a:pt x="66" y="143"/>
                    <a:pt x="51" y="143"/>
                  </a:cubicBezTo>
                  <a:lnTo>
                    <a:pt x="0" y="143"/>
                  </a:lnTo>
                  <a:lnTo>
                    <a:pt x="0" y="0"/>
                  </a:lnTo>
                  <a:lnTo>
                    <a:pt x="51" y="0"/>
                  </a:lnTo>
                  <a:cubicBezTo>
                    <a:pt x="66" y="0"/>
                    <a:pt x="79" y="5"/>
                    <a:pt x="89" y="14"/>
                  </a:cubicBezTo>
                  <a:cubicBezTo>
                    <a:pt x="105" y="30"/>
                    <a:pt x="103" y="50"/>
                    <a:pt x="103" y="71"/>
                  </a:cubicBezTo>
                  <a:cubicBezTo>
                    <a:pt x="103" y="92"/>
                    <a:pt x="105" y="113"/>
                    <a:pt x="89" y="129"/>
                  </a:cubicBezTo>
                  <a:close/>
                  <a:moveTo>
                    <a:pt x="69" y="34"/>
                  </a:moveTo>
                  <a:lnTo>
                    <a:pt x="69" y="34"/>
                  </a:lnTo>
                  <a:cubicBezTo>
                    <a:pt x="64" y="28"/>
                    <a:pt x="58" y="25"/>
                    <a:pt x="48" y="25"/>
                  </a:cubicBezTo>
                  <a:lnTo>
                    <a:pt x="27" y="25"/>
                  </a:lnTo>
                  <a:lnTo>
                    <a:pt x="27" y="118"/>
                  </a:lnTo>
                  <a:lnTo>
                    <a:pt x="48" y="118"/>
                  </a:lnTo>
                  <a:cubicBezTo>
                    <a:pt x="58" y="118"/>
                    <a:pt x="64" y="115"/>
                    <a:pt x="69" y="109"/>
                  </a:cubicBezTo>
                  <a:cubicBezTo>
                    <a:pt x="74" y="103"/>
                    <a:pt x="75" y="93"/>
                    <a:pt x="75" y="71"/>
                  </a:cubicBezTo>
                  <a:cubicBezTo>
                    <a:pt x="75" y="49"/>
                    <a:pt x="74" y="40"/>
                    <a:pt x="69" y="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9" name="Freeform 49"/>
            <p:cNvSpPr>
              <a:spLocks/>
            </p:cNvSpPr>
            <p:nvPr/>
          </p:nvSpPr>
          <p:spPr bwMode="auto">
            <a:xfrm>
              <a:off x="8545513" y="-495301"/>
              <a:ext cx="25400" cy="128588"/>
            </a:xfrm>
            <a:custGeom>
              <a:avLst/>
              <a:gdLst>
                <a:gd name="T0" fmla="*/ 0 w 27"/>
                <a:gd name="T1" fmla="*/ 0 h 143"/>
                <a:gd name="T2" fmla="*/ 0 w 27"/>
                <a:gd name="T3" fmla="*/ 0 h 143"/>
                <a:gd name="T4" fmla="*/ 27 w 27"/>
                <a:gd name="T5" fmla="*/ 0 h 143"/>
                <a:gd name="T6" fmla="*/ 27 w 27"/>
                <a:gd name="T7" fmla="*/ 143 h 143"/>
                <a:gd name="T8" fmla="*/ 0 w 27"/>
                <a:gd name="T9" fmla="*/ 143 h 143"/>
                <a:gd name="T10" fmla="*/ 0 w 27"/>
                <a:gd name="T11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143">
                  <a:moveTo>
                    <a:pt x="0" y="0"/>
                  </a:moveTo>
                  <a:lnTo>
                    <a:pt x="0" y="0"/>
                  </a:lnTo>
                  <a:lnTo>
                    <a:pt x="27" y="0"/>
                  </a:lnTo>
                  <a:lnTo>
                    <a:pt x="27" y="143"/>
                  </a:lnTo>
                  <a:lnTo>
                    <a:pt x="0" y="14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0" name="Freeform 50"/>
            <p:cNvSpPr>
              <a:spLocks/>
            </p:cNvSpPr>
            <p:nvPr/>
          </p:nvSpPr>
          <p:spPr bwMode="auto">
            <a:xfrm>
              <a:off x="8589963" y="-496888"/>
              <a:ext cx="92075" cy="130175"/>
            </a:xfrm>
            <a:custGeom>
              <a:avLst/>
              <a:gdLst>
                <a:gd name="T0" fmla="*/ 52 w 104"/>
                <a:gd name="T1" fmla="*/ 145 h 145"/>
                <a:gd name="T2" fmla="*/ 52 w 104"/>
                <a:gd name="T3" fmla="*/ 145 h 145"/>
                <a:gd name="T4" fmla="*/ 0 w 104"/>
                <a:gd name="T5" fmla="*/ 126 h 145"/>
                <a:gd name="T6" fmla="*/ 18 w 104"/>
                <a:gd name="T7" fmla="*/ 108 h 145"/>
                <a:gd name="T8" fmla="*/ 52 w 104"/>
                <a:gd name="T9" fmla="*/ 120 h 145"/>
                <a:gd name="T10" fmla="*/ 77 w 104"/>
                <a:gd name="T11" fmla="*/ 102 h 145"/>
                <a:gd name="T12" fmla="*/ 73 w 104"/>
                <a:gd name="T13" fmla="*/ 90 h 145"/>
                <a:gd name="T14" fmla="*/ 60 w 104"/>
                <a:gd name="T15" fmla="*/ 85 h 145"/>
                <a:gd name="T16" fmla="*/ 43 w 104"/>
                <a:gd name="T17" fmla="*/ 83 h 145"/>
                <a:gd name="T18" fmla="*/ 15 w 104"/>
                <a:gd name="T19" fmla="*/ 71 h 145"/>
                <a:gd name="T20" fmla="*/ 5 w 104"/>
                <a:gd name="T21" fmla="*/ 43 h 145"/>
                <a:gd name="T22" fmla="*/ 55 w 104"/>
                <a:gd name="T23" fmla="*/ 0 h 145"/>
                <a:gd name="T24" fmla="*/ 101 w 104"/>
                <a:gd name="T25" fmla="*/ 17 h 145"/>
                <a:gd name="T26" fmla="*/ 83 w 104"/>
                <a:gd name="T27" fmla="*/ 34 h 145"/>
                <a:gd name="T28" fmla="*/ 54 w 104"/>
                <a:gd name="T29" fmla="*/ 24 h 145"/>
                <a:gd name="T30" fmla="*/ 32 w 104"/>
                <a:gd name="T31" fmla="*/ 42 h 145"/>
                <a:gd name="T32" fmla="*/ 36 w 104"/>
                <a:gd name="T33" fmla="*/ 52 h 145"/>
                <a:gd name="T34" fmla="*/ 49 w 104"/>
                <a:gd name="T35" fmla="*/ 58 h 145"/>
                <a:gd name="T36" fmla="*/ 66 w 104"/>
                <a:gd name="T37" fmla="*/ 60 h 145"/>
                <a:gd name="T38" fmla="*/ 93 w 104"/>
                <a:gd name="T39" fmla="*/ 71 h 145"/>
                <a:gd name="T40" fmla="*/ 104 w 104"/>
                <a:gd name="T41" fmla="*/ 102 h 145"/>
                <a:gd name="T42" fmla="*/ 52 w 104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4" h="145">
                  <a:moveTo>
                    <a:pt x="52" y="145"/>
                  </a:moveTo>
                  <a:lnTo>
                    <a:pt x="52" y="145"/>
                  </a:lnTo>
                  <a:cubicBezTo>
                    <a:pt x="30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39" y="120"/>
                    <a:pt x="52" y="120"/>
                  </a:cubicBezTo>
                  <a:cubicBezTo>
                    <a:pt x="68" y="120"/>
                    <a:pt x="77" y="114"/>
                    <a:pt x="77" y="102"/>
                  </a:cubicBezTo>
                  <a:cubicBezTo>
                    <a:pt x="77" y="97"/>
                    <a:pt x="76" y="93"/>
                    <a:pt x="73" y="90"/>
                  </a:cubicBezTo>
                  <a:cubicBezTo>
                    <a:pt x="70" y="88"/>
                    <a:pt x="67" y="86"/>
                    <a:pt x="60" y="85"/>
                  </a:cubicBezTo>
                  <a:lnTo>
                    <a:pt x="43" y="83"/>
                  </a:lnTo>
                  <a:cubicBezTo>
                    <a:pt x="31" y="81"/>
                    <a:pt x="22" y="77"/>
                    <a:pt x="15" y="71"/>
                  </a:cubicBezTo>
                  <a:cubicBezTo>
                    <a:pt x="9" y="65"/>
                    <a:pt x="5" y="55"/>
                    <a:pt x="5" y="43"/>
                  </a:cubicBezTo>
                  <a:cubicBezTo>
                    <a:pt x="5" y="18"/>
                    <a:pt x="24" y="0"/>
                    <a:pt x="55" y="0"/>
                  </a:cubicBezTo>
                  <a:cubicBezTo>
                    <a:pt x="74" y="0"/>
                    <a:pt x="89" y="5"/>
                    <a:pt x="101" y="17"/>
                  </a:cubicBezTo>
                  <a:lnTo>
                    <a:pt x="83" y="34"/>
                  </a:lnTo>
                  <a:cubicBezTo>
                    <a:pt x="74" y="26"/>
                    <a:pt x="63" y="24"/>
                    <a:pt x="54" y="24"/>
                  </a:cubicBezTo>
                  <a:cubicBezTo>
                    <a:pt x="39" y="24"/>
                    <a:pt x="32" y="32"/>
                    <a:pt x="32" y="42"/>
                  </a:cubicBezTo>
                  <a:cubicBezTo>
                    <a:pt x="32" y="46"/>
                    <a:pt x="33" y="50"/>
                    <a:pt x="36" y="52"/>
                  </a:cubicBezTo>
                  <a:cubicBezTo>
                    <a:pt x="39" y="55"/>
                    <a:pt x="44" y="57"/>
                    <a:pt x="49" y="58"/>
                  </a:cubicBezTo>
                  <a:lnTo>
                    <a:pt x="66" y="60"/>
                  </a:lnTo>
                  <a:cubicBezTo>
                    <a:pt x="79" y="62"/>
                    <a:pt x="87" y="66"/>
                    <a:pt x="93" y="71"/>
                  </a:cubicBezTo>
                  <a:cubicBezTo>
                    <a:pt x="101" y="79"/>
                    <a:pt x="104" y="89"/>
                    <a:pt x="104" y="102"/>
                  </a:cubicBezTo>
                  <a:cubicBezTo>
                    <a:pt x="104" y="129"/>
                    <a:pt x="81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1" name="Freeform 51"/>
            <p:cNvSpPr>
              <a:spLocks noEditPoints="1"/>
            </p:cNvSpPr>
            <p:nvPr/>
          </p:nvSpPr>
          <p:spPr bwMode="auto">
            <a:xfrm>
              <a:off x="8704263" y="-495301"/>
              <a:ext cx="92075" cy="128588"/>
            </a:xfrm>
            <a:custGeom>
              <a:avLst/>
              <a:gdLst>
                <a:gd name="T0" fmla="*/ 55 w 102"/>
                <a:gd name="T1" fmla="*/ 89 h 143"/>
                <a:gd name="T2" fmla="*/ 55 w 102"/>
                <a:gd name="T3" fmla="*/ 89 h 143"/>
                <a:gd name="T4" fmla="*/ 27 w 102"/>
                <a:gd name="T5" fmla="*/ 89 h 143"/>
                <a:gd name="T6" fmla="*/ 27 w 102"/>
                <a:gd name="T7" fmla="*/ 143 h 143"/>
                <a:gd name="T8" fmla="*/ 0 w 102"/>
                <a:gd name="T9" fmla="*/ 143 h 143"/>
                <a:gd name="T10" fmla="*/ 0 w 102"/>
                <a:gd name="T11" fmla="*/ 0 h 143"/>
                <a:gd name="T12" fmla="*/ 55 w 102"/>
                <a:gd name="T13" fmla="*/ 0 h 143"/>
                <a:gd name="T14" fmla="*/ 102 w 102"/>
                <a:gd name="T15" fmla="*/ 45 h 143"/>
                <a:gd name="T16" fmla="*/ 55 w 102"/>
                <a:gd name="T17" fmla="*/ 89 h 143"/>
                <a:gd name="T18" fmla="*/ 53 w 102"/>
                <a:gd name="T19" fmla="*/ 25 h 143"/>
                <a:gd name="T20" fmla="*/ 53 w 102"/>
                <a:gd name="T21" fmla="*/ 25 h 143"/>
                <a:gd name="T22" fmla="*/ 27 w 102"/>
                <a:gd name="T23" fmla="*/ 25 h 143"/>
                <a:gd name="T24" fmla="*/ 27 w 102"/>
                <a:gd name="T25" fmla="*/ 64 h 143"/>
                <a:gd name="T26" fmla="*/ 53 w 102"/>
                <a:gd name="T27" fmla="*/ 64 h 143"/>
                <a:gd name="T28" fmla="*/ 74 w 102"/>
                <a:gd name="T29" fmla="*/ 45 h 143"/>
                <a:gd name="T30" fmla="*/ 53 w 102"/>
                <a:gd name="T31" fmla="*/ 2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2" h="143">
                  <a:moveTo>
                    <a:pt x="55" y="89"/>
                  </a:moveTo>
                  <a:lnTo>
                    <a:pt x="55" y="89"/>
                  </a:lnTo>
                  <a:lnTo>
                    <a:pt x="27" y="89"/>
                  </a:lnTo>
                  <a:lnTo>
                    <a:pt x="27" y="143"/>
                  </a:lnTo>
                  <a:lnTo>
                    <a:pt x="0" y="143"/>
                  </a:lnTo>
                  <a:lnTo>
                    <a:pt x="0" y="0"/>
                  </a:lnTo>
                  <a:lnTo>
                    <a:pt x="55" y="0"/>
                  </a:lnTo>
                  <a:cubicBezTo>
                    <a:pt x="84" y="0"/>
                    <a:pt x="102" y="20"/>
                    <a:pt x="102" y="45"/>
                  </a:cubicBezTo>
                  <a:cubicBezTo>
                    <a:pt x="102" y="69"/>
                    <a:pt x="84" y="89"/>
                    <a:pt x="55" y="89"/>
                  </a:cubicBezTo>
                  <a:close/>
                  <a:moveTo>
                    <a:pt x="53" y="25"/>
                  </a:moveTo>
                  <a:lnTo>
                    <a:pt x="53" y="25"/>
                  </a:lnTo>
                  <a:lnTo>
                    <a:pt x="27" y="25"/>
                  </a:lnTo>
                  <a:lnTo>
                    <a:pt x="27" y="64"/>
                  </a:lnTo>
                  <a:lnTo>
                    <a:pt x="53" y="64"/>
                  </a:lnTo>
                  <a:cubicBezTo>
                    <a:pt x="66" y="64"/>
                    <a:pt x="74" y="56"/>
                    <a:pt x="74" y="45"/>
                  </a:cubicBezTo>
                  <a:cubicBezTo>
                    <a:pt x="74" y="33"/>
                    <a:pt x="66" y="25"/>
                    <a:pt x="53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2" name="Freeform 52"/>
            <p:cNvSpPr>
              <a:spLocks noEditPoints="1"/>
            </p:cNvSpPr>
            <p:nvPr/>
          </p:nvSpPr>
          <p:spPr bwMode="auto">
            <a:xfrm>
              <a:off x="8813800" y="-496888"/>
              <a:ext cx="93663" cy="130175"/>
            </a:xfrm>
            <a:custGeom>
              <a:avLst/>
              <a:gdLst>
                <a:gd name="T0" fmla="*/ 91 w 106"/>
                <a:gd name="T1" fmla="*/ 129 h 145"/>
                <a:gd name="T2" fmla="*/ 91 w 106"/>
                <a:gd name="T3" fmla="*/ 129 h 145"/>
                <a:gd name="T4" fmla="*/ 53 w 106"/>
                <a:gd name="T5" fmla="*/ 145 h 145"/>
                <a:gd name="T6" fmla="*/ 14 w 106"/>
                <a:gd name="T7" fmla="*/ 129 h 145"/>
                <a:gd name="T8" fmla="*/ 0 w 106"/>
                <a:gd name="T9" fmla="*/ 72 h 145"/>
                <a:gd name="T10" fmla="*/ 14 w 106"/>
                <a:gd name="T11" fmla="*/ 16 h 145"/>
                <a:gd name="T12" fmla="*/ 53 w 106"/>
                <a:gd name="T13" fmla="*/ 0 h 145"/>
                <a:gd name="T14" fmla="*/ 91 w 106"/>
                <a:gd name="T15" fmla="*/ 16 h 145"/>
                <a:gd name="T16" fmla="*/ 105 w 106"/>
                <a:gd name="T17" fmla="*/ 72 h 145"/>
                <a:gd name="T18" fmla="*/ 91 w 106"/>
                <a:gd name="T19" fmla="*/ 129 h 145"/>
                <a:gd name="T20" fmla="*/ 71 w 106"/>
                <a:gd name="T21" fmla="*/ 32 h 145"/>
                <a:gd name="T22" fmla="*/ 71 w 106"/>
                <a:gd name="T23" fmla="*/ 32 h 145"/>
                <a:gd name="T24" fmla="*/ 53 w 106"/>
                <a:gd name="T25" fmla="*/ 25 h 145"/>
                <a:gd name="T26" fmla="*/ 35 w 106"/>
                <a:gd name="T27" fmla="*/ 32 h 145"/>
                <a:gd name="T28" fmla="*/ 28 w 106"/>
                <a:gd name="T29" fmla="*/ 72 h 145"/>
                <a:gd name="T30" fmla="*/ 35 w 106"/>
                <a:gd name="T31" fmla="*/ 112 h 145"/>
                <a:gd name="T32" fmla="*/ 53 w 106"/>
                <a:gd name="T33" fmla="*/ 120 h 145"/>
                <a:gd name="T34" fmla="*/ 71 w 106"/>
                <a:gd name="T35" fmla="*/ 112 h 145"/>
                <a:gd name="T36" fmla="*/ 78 w 106"/>
                <a:gd name="T37" fmla="*/ 72 h 145"/>
                <a:gd name="T38" fmla="*/ 71 w 106"/>
                <a:gd name="T39" fmla="*/ 32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6" h="145">
                  <a:moveTo>
                    <a:pt x="91" y="129"/>
                  </a:moveTo>
                  <a:lnTo>
                    <a:pt x="91" y="129"/>
                  </a:lnTo>
                  <a:cubicBezTo>
                    <a:pt x="81" y="139"/>
                    <a:pt x="69" y="145"/>
                    <a:pt x="53" y="145"/>
                  </a:cubicBezTo>
                  <a:cubicBezTo>
                    <a:pt x="37" y="145"/>
                    <a:pt x="24" y="139"/>
                    <a:pt x="14" y="129"/>
                  </a:cubicBezTo>
                  <a:cubicBezTo>
                    <a:pt x="0" y="115"/>
                    <a:pt x="0" y="97"/>
                    <a:pt x="0" y="72"/>
                  </a:cubicBezTo>
                  <a:cubicBezTo>
                    <a:pt x="0" y="48"/>
                    <a:pt x="0" y="30"/>
                    <a:pt x="14" y="16"/>
                  </a:cubicBezTo>
                  <a:cubicBezTo>
                    <a:pt x="24" y="6"/>
                    <a:pt x="37" y="0"/>
                    <a:pt x="53" y="0"/>
                  </a:cubicBezTo>
                  <a:cubicBezTo>
                    <a:pt x="69" y="0"/>
                    <a:pt x="81" y="6"/>
                    <a:pt x="91" y="16"/>
                  </a:cubicBezTo>
                  <a:cubicBezTo>
                    <a:pt x="106" y="30"/>
                    <a:pt x="105" y="48"/>
                    <a:pt x="105" y="72"/>
                  </a:cubicBezTo>
                  <a:cubicBezTo>
                    <a:pt x="105" y="97"/>
                    <a:pt x="106" y="115"/>
                    <a:pt x="91" y="129"/>
                  </a:cubicBezTo>
                  <a:close/>
                  <a:moveTo>
                    <a:pt x="71" y="32"/>
                  </a:moveTo>
                  <a:lnTo>
                    <a:pt x="71" y="32"/>
                  </a:lnTo>
                  <a:cubicBezTo>
                    <a:pt x="67" y="28"/>
                    <a:pt x="60" y="25"/>
                    <a:pt x="53" y="25"/>
                  </a:cubicBezTo>
                  <a:cubicBezTo>
                    <a:pt x="45" y="25"/>
                    <a:pt x="39" y="28"/>
                    <a:pt x="35" y="32"/>
                  </a:cubicBezTo>
                  <a:cubicBezTo>
                    <a:pt x="29" y="38"/>
                    <a:pt x="28" y="45"/>
                    <a:pt x="28" y="72"/>
                  </a:cubicBezTo>
                  <a:cubicBezTo>
                    <a:pt x="28" y="100"/>
                    <a:pt x="29" y="106"/>
                    <a:pt x="35" y="112"/>
                  </a:cubicBezTo>
                  <a:cubicBezTo>
                    <a:pt x="39" y="117"/>
                    <a:pt x="45" y="120"/>
                    <a:pt x="53" y="120"/>
                  </a:cubicBezTo>
                  <a:cubicBezTo>
                    <a:pt x="60" y="120"/>
                    <a:pt x="67" y="117"/>
                    <a:pt x="71" y="112"/>
                  </a:cubicBezTo>
                  <a:cubicBezTo>
                    <a:pt x="76" y="106"/>
                    <a:pt x="78" y="100"/>
                    <a:pt x="78" y="72"/>
                  </a:cubicBezTo>
                  <a:cubicBezTo>
                    <a:pt x="78" y="45"/>
                    <a:pt x="76" y="38"/>
                    <a:pt x="71" y="3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3" name="Freeform 53"/>
            <p:cNvSpPr>
              <a:spLocks/>
            </p:cNvSpPr>
            <p:nvPr/>
          </p:nvSpPr>
          <p:spPr bwMode="auto">
            <a:xfrm>
              <a:off x="8921750" y="-496888"/>
              <a:ext cx="93663" cy="130175"/>
            </a:xfrm>
            <a:custGeom>
              <a:avLst/>
              <a:gdLst>
                <a:gd name="T0" fmla="*/ 52 w 105"/>
                <a:gd name="T1" fmla="*/ 145 h 145"/>
                <a:gd name="T2" fmla="*/ 52 w 105"/>
                <a:gd name="T3" fmla="*/ 145 h 145"/>
                <a:gd name="T4" fmla="*/ 0 w 105"/>
                <a:gd name="T5" fmla="*/ 126 h 145"/>
                <a:gd name="T6" fmla="*/ 18 w 105"/>
                <a:gd name="T7" fmla="*/ 108 h 145"/>
                <a:gd name="T8" fmla="*/ 53 w 105"/>
                <a:gd name="T9" fmla="*/ 120 h 145"/>
                <a:gd name="T10" fmla="*/ 78 w 105"/>
                <a:gd name="T11" fmla="*/ 102 h 145"/>
                <a:gd name="T12" fmla="*/ 74 w 105"/>
                <a:gd name="T13" fmla="*/ 90 h 145"/>
                <a:gd name="T14" fmla="*/ 61 w 105"/>
                <a:gd name="T15" fmla="*/ 85 h 145"/>
                <a:gd name="T16" fmla="*/ 44 w 105"/>
                <a:gd name="T17" fmla="*/ 83 h 145"/>
                <a:gd name="T18" fmla="*/ 16 w 105"/>
                <a:gd name="T19" fmla="*/ 71 h 145"/>
                <a:gd name="T20" fmla="*/ 6 w 105"/>
                <a:gd name="T21" fmla="*/ 43 h 145"/>
                <a:gd name="T22" fmla="*/ 56 w 105"/>
                <a:gd name="T23" fmla="*/ 0 h 145"/>
                <a:gd name="T24" fmla="*/ 102 w 105"/>
                <a:gd name="T25" fmla="*/ 17 h 145"/>
                <a:gd name="T26" fmla="*/ 84 w 105"/>
                <a:gd name="T27" fmla="*/ 34 h 145"/>
                <a:gd name="T28" fmla="*/ 55 w 105"/>
                <a:gd name="T29" fmla="*/ 24 h 145"/>
                <a:gd name="T30" fmla="*/ 33 w 105"/>
                <a:gd name="T31" fmla="*/ 42 h 145"/>
                <a:gd name="T32" fmla="*/ 37 w 105"/>
                <a:gd name="T33" fmla="*/ 52 h 145"/>
                <a:gd name="T34" fmla="*/ 50 w 105"/>
                <a:gd name="T35" fmla="*/ 58 h 145"/>
                <a:gd name="T36" fmla="*/ 67 w 105"/>
                <a:gd name="T37" fmla="*/ 60 h 145"/>
                <a:gd name="T38" fmla="*/ 94 w 105"/>
                <a:gd name="T39" fmla="*/ 71 h 145"/>
                <a:gd name="T40" fmla="*/ 105 w 105"/>
                <a:gd name="T41" fmla="*/ 102 h 145"/>
                <a:gd name="T42" fmla="*/ 52 w 105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5" h="145">
                  <a:moveTo>
                    <a:pt x="52" y="145"/>
                  </a:moveTo>
                  <a:lnTo>
                    <a:pt x="52" y="145"/>
                  </a:lnTo>
                  <a:cubicBezTo>
                    <a:pt x="31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40" y="120"/>
                    <a:pt x="53" y="120"/>
                  </a:cubicBezTo>
                  <a:cubicBezTo>
                    <a:pt x="69" y="120"/>
                    <a:pt x="78" y="114"/>
                    <a:pt x="78" y="102"/>
                  </a:cubicBezTo>
                  <a:cubicBezTo>
                    <a:pt x="78" y="97"/>
                    <a:pt x="77" y="93"/>
                    <a:pt x="74" y="90"/>
                  </a:cubicBezTo>
                  <a:cubicBezTo>
                    <a:pt x="71" y="88"/>
                    <a:pt x="68" y="86"/>
                    <a:pt x="61" y="85"/>
                  </a:cubicBezTo>
                  <a:lnTo>
                    <a:pt x="44" y="83"/>
                  </a:lnTo>
                  <a:cubicBezTo>
                    <a:pt x="32" y="81"/>
                    <a:pt x="23" y="77"/>
                    <a:pt x="16" y="71"/>
                  </a:cubicBezTo>
                  <a:cubicBezTo>
                    <a:pt x="9" y="65"/>
                    <a:pt x="6" y="55"/>
                    <a:pt x="6" y="43"/>
                  </a:cubicBezTo>
                  <a:cubicBezTo>
                    <a:pt x="6" y="18"/>
                    <a:pt x="25" y="0"/>
                    <a:pt x="56" y="0"/>
                  </a:cubicBezTo>
                  <a:cubicBezTo>
                    <a:pt x="75" y="0"/>
                    <a:pt x="89" y="5"/>
                    <a:pt x="102" y="17"/>
                  </a:cubicBezTo>
                  <a:lnTo>
                    <a:pt x="84" y="34"/>
                  </a:lnTo>
                  <a:cubicBezTo>
                    <a:pt x="75" y="26"/>
                    <a:pt x="64" y="24"/>
                    <a:pt x="55" y="24"/>
                  </a:cubicBezTo>
                  <a:cubicBezTo>
                    <a:pt x="40" y="24"/>
                    <a:pt x="33" y="32"/>
                    <a:pt x="33" y="42"/>
                  </a:cubicBezTo>
                  <a:cubicBezTo>
                    <a:pt x="33" y="46"/>
                    <a:pt x="34" y="50"/>
                    <a:pt x="37" y="52"/>
                  </a:cubicBezTo>
                  <a:cubicBezTo>
                    <a:pt x="40" y="55"/>
                    <a:pt x="44" y="57"/>
                    <a:pt x="50" y="58"/>
                  </a:cubicBezTo>
                  <a:lnTo>
                    <a:pt x="67" y="60"/>
                  </a:lnTo>
                  <a:cubicBezTo>
                    <a:pt x="80" y="62"/>
                    <a:pt x="88" y="66"/>
                    <a:pt x="94" y="71"/>
                  </a:cubicBezTo>
                  <a:cubicBezTo>
                    <a:pt x="102" y="79"/>
                    <a:pt x="105" y="89"/>
                    <a:pt x="105" y="102"/>
                  </a:cubicBezTo>
                  <a:cubicBezTo>
                    <a:pt x="105" y="129"/>
                    <a:pt x="82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4" name="Freeform 54"/>
            <p:cNvSpPr>
              <a:spLocks noEditPoints="1"/>
            </p:cNvSpPr>
            <p:nvPr/>
          </p:nvSpPr>
          <p:spPr bwMode="auto">
            <a:xfrm>
              <a:off x="9024938" y="-495301"/>
              <a:ext cx="112713" cy="128588"/>
            </a:xfrm>
            <a:custGeom>
              <a:avLst/>
              <a:gdLst>
                <a:gd name="T0" fmla="*/ 97 w 126"/>
                <a:gd name="T1" fmla="*/ 143 h 143"/>
                <a:gd name="T2" fmla="*/ 97 w 126"/>
                <a:gd name="T3" fmla="*/ 143 h 143"/>
                <a:gd name="T4" fmla="*/ 89 w 126"/>
                <a:gd name="T5" fmla="*/ 117 h 143"/>
                <a:gd name="T6" fmla="*/ 38 w 126"/>
                <a:gd name="T7" fmla="*/ 117 h 143"/>
                <a:gd name="T8" fmla="*/ 29 w 126"/>
                <a:gd name="T9" fmla="*/ 143 h 143"/>
                <a:gd name="T10" fmla="*/ 0 w 126"/>
                <a:gd name="T11" fmla="*/ 143 h 143"/>
                <a:gd name="T12" fmla="*/ 52 w 126"/>
                <a:gd name="T13" fmla="*/ 0 h 143"/>
                <a:gd name="T14" fmla="*/ 74 w 126"/>
                <a:gd name="T15" fmla="*/ 0 h 143"/>
                <a:gd name="T16" fmla="*/ 126 w 126"/>
                <a:gd name="T17" fmla="*/ 143 h 143"/>
                <a:gd name="T18" fmla="*/ 97 w 126"/>
                <a:gd name="T19" fmla="*/ 143 h 143"/>
                <a:gd name="T20" fmla="*/ 64 w 126"/>
                <a:gd name="T21" fmla="*/ 42 h 143"/>
                <a:gd name="T22" fmla="*/ 64 w 126"/>
                <a:gd name="T23" fmla="*/ 42 h 143"/>
                <a:gd name="T24" fmla="*/ 46 w 126"/>
                <a:gd name="T25" fmla="*/ 94 h 143"/>
                <a:gd name="T26" fmla="*/ 81 w 126"/>
                <a:gd name="T27" fmla="*/ 94 h 143"/>
                <a:gd name="T28" fmla="*/ 64 w 126"/>
                <a:gd name="T29" fmla="*/ 4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6" h="143">
                  <a:moveTo>
                    <a:pt x="97" y="143"/>
                  </a:moveTo>
                  <a:lnTo>
                    <a:pt x="97" y="143"/>
                  </a:lnTo>
                  <a:lnTo>
                    <a:pt x="89" y="117"/>
                  </a:lnTo>
                  <a:lnTo>
                    <a:pt x="38" y="117"/>
                  </a:lnTo>
                  <a:lnTo>
                    <a:pt x="29" y="143"/>
                  </a:lnTo>
                  <a:lnTo>
                    <a:pt x="0" y="143"/>
                  </a:lnTo>
                  <a:lnTo>
                    <a:pt x="52" y="0"/>
                  </a:lnTo>
                  <a:lnTo>
                    <a:pt x="74" y="0"/>
                  </a:lnTo>
                  <a:lnTo>
                    <a:pt x="126" y="143"/>
                  </a:lnTo>
                  <a:lnTo>
                    <a:pt x="97" y="143"/>
                  </a:lnTo>
                  <a:close/>
                  <a:moveTo>
                    <a:pt x="64" y="42"/>
                  </a:moveTo>
                  <a:lnTo>
                    <a:pt x="64" y="42"/>
                  </a:lnTo>
                  <a:lnTo>
                    <a:pt x="46" y="94"/>
                  </a:lnTo>
                  <a:lnTo>
                    <a:pt x="81" y="94"/>
                  </a:lnTo>
                  <a:lnTo>
                    <a:pt x="64" y="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5" name="Freeform 55"/>
            <p:cNvSpPr>
              <a:spLocks/>
            </p:cNvSpPr>
            <p:nvPr/>
          </p:nvSpPr>
          <p:spPr bwMode="auto">
            <a:xfrm>
              <a:off x="9155113" y="-495301"/>
              <a:ext cx="82550" cy="128588"/>
            </a:xfrm>
            <a:custGeom>
              <a:avLst/>
              <a:gdLst>
                <a:gd name="T0" fmla="*/ 0 w 92"/>
                <a:gd name="T1" fmla="*/ 0 h 143"/>
                <a:gd name="T2" fmla="*/ 0 w 92"/>
                <a:gd name="T3" fmla="*/ 0 h 143"/>
                <a:gd name="T4" fmla="*/ 0 w 92"/>
                <a:gd name="T5" fmla="*/ 143 h 143"/>
                <a:gd name="T6" fmla="*/ 92 w 92"/>
                <a:gd name="T7" fmla="*/ 143 h 143"/>
                <a:gd name="T8" fmla="*/ 92 w 92"/>
                <a:gd name="T9" fmla="*/ 118 h 143"/>
                <a:gd name="T10" fmla="*/ 28 w 92"/>
                <a:gd name="T11" fmla="*/ 118 h 143"/>
                <a:gd name="T12" fmla="*/ 28 w 92"/>
                <a:gd name="T13" fmla="*/ 0 h 143"/>
                <a:gd name="T14" fmla="*/ 0 w 92"/>
                <a:gd name="T1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143">
                  <a:moveTo>
                    <a:pt x="0" y="0"/>
                  </a:moveTo>
                  <a:lnTo>
                    <a:pt x="0" y="0"/>
                  </a:lnTo>
                  <a:lnTo>
                    <a:pt x="0" y="143"/>
                  </a:lnTo>
                  <a:lnTo>
                    <a:pt x="92" y="143"/>
                  </a:lnTo>
                  <a:lnTo>
                    <a:pt x="92" y="118"/>
                  </a:lnTo>
                  <a:lnTo>
                    <a:pt x="28" y="118"/>
                  </a:lnTo>
                  <a:lnTo>
                    <a:pt x="2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55" name="Reuse/Disposal"/>
          <p:cNvGrpSpPr/>
          <p:nvPr/>
        </p:nvGrpSpPr>
        <p:grpSpPr>
          <a:xfrm>
            <a:off x="7479799" y="3526618"/>
            <a:ext cx="1170319" cy="125437"/>
            <a:chOff x="7800975" y="-508001"/>
            <a:chExt cx="1436688" cy="153988"/>
          </a:xfrm>
          <a:solidFill>
            <a:schemeClr val="accent3">
              <a:lumMod val="75000"/>
            </a:schemeClr>
          </a:solidFill>
        </p:grpSpPr>
        <p:sp>
          <p:nvSpPr>
            <p:cNvPr id="158" name="Freeform 42"/>
            <p:cNvSpPr>
              <a:spLocks noEditPoints="1"/>
            </p:cNvSpPr>
            <p:nvPr/>
          </p:nvSpPr>
          <p:spPr bwMode="auto">
            <a:xfrm>
              <a:off x="7800975" y="-495301"/>
              <a:ext cx="95250" cy="128588"/>
            </a:xfrm>
            <a:custGeom>
              <a:avLst/>
              <a:gdLst>
                <a:gd name="T0" fmla="*/ 76 w 108"/>
                <a:gd name="T1" fmla="*/ 143 h 143"/>
                <a:gd name="T2" fmla="*/ 76 w 108"/>
                <a:gd name="T3" fmla="*/ 143 h 143"/>
                <a:gd name="T4" fmla="*/ 48 w 108"/>
                <a:gd name="T5" fmla="*/ 86 h 143"/>
                <a:gd name="T6" fmla="*/ 28 w 108"/>
                <a:gd name="T7" fmla="*/ 86 h 143"/>
                <a:gd name="T8" fmla="*/ 28 w 108"/>
                <a:gd name="T9" fmla="*/ 143 h 143"/>
                <a:gd name="T10" fmla="*/ 0 w 108"/>
                <a:gd name="T11" fmla="*/ 143 h 143"/>
                <a:gd name="T12" fmla="*/ 0 w 108"/>
                <a:gd name="T13" fmla="*/ 0 h 143"/>
                <a:gd name="T14" fmla="*/ 56 w 108"/>
                <a:gd name="T15" fmla="*/ 0 h 143"/>
                <a:gd name="T16" fmla="*/ 102 w 108"/>
                <a:gd name="T17" fmla="*/ 44 h 143"/>
                <a:gd name="T18" fmla="*/ 76 w 108"/>
                <a:gd name="T19" fmla="*/ 81 h 143"/>
                <a:gd name="T20" fmla="*/ 108 w 108"/>
                <a:gd name="T21" fmla="*/ 143 h 143"/>
                <a:gd name="T22" fmla="*/ 76 w 108"/>
                <a:gd name="T23" fmla="*/ 143 h 143"/>
                <a:gd name="T24" fmla="*/ 54 w 108"/>
                <a:gd name="T25" fmla="*/ 25 h 143"/>
                <a:gd name="T26" fmla="*/ 54 w 108"/>
                <a:gd name="T27" fmla="*/ 25 h 143"/>
                <a:gd name="T28" fmla="*/ 28 w 108"/>
                <a:gd name="T29" fmla="*/ 25 h 143"/>
                <a:gd name="T30" fmla="*/ 28 w 108"/>
                <a:gd name="T31" fmla="*/ 63 h 143"/>
                <a:gd name="T32" fmla="*/ 54 w 108"/>
                <a:gd name="T33" fmla="*/ 63 h 143"/>
                <a:gd name="T34" fmla="*/ 74 w 108"/>
                <a:gd name="T35" fmla="*/ 44 h 143"/>
                <a:gd name="T36" fmla="*/ 54 w 108"/>
                <a:gd name="T37" fmla="*/ 2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8" h="143">
                  <a:moveTo>
                    <a:pt x="76" y="143"/>
                  </a:moveTo>
                  <a:lnTo>
                    <a:pt x="76" y="143"/>
                  </a:lnTo>
                  <a:lnTo>
                    <a:pt x="48" y="86"/>
                  </a:lnTo>
                  <a:lnTo>
                    <a:pt x="28" y="86"/>
                  </a:lnTo>
                  <a:lnTo>
                    <a:pt x="28" y="143"/>
                  </a:lnTo>
                  <a:lnTo>
                    <a:pt x="0" y="143"/>
                  </a:lnTo>
                  <a:lnTo>
                    <a:pt x="0" y="0"/>
                  </a:lnTo>
                  <a:lnTo>
                    <a:pt x="56" y="0"/>
                  </a:lnTo>
                  <a:cubicBezTo>
                    <a:pt x="85" y="0"/>
                    <a:pt x="102" y="20"/>
                    <a:pt x="102" y="44"/>
                  </a:cubicBezTo>
                  <a:cubicBezTo>
                    <a:pt x="102" y="64"/>
                    <a:pt x="90" y="76"/>
                    <a:pt x="76" y="81"/>
                  </a:cubicBezTo>
                  <a:lnTo>
                    <a:pt x="108" y="143"/>
                  </a:lnTo>
                  <a:lnTo>
                    <a:pt x="76" y="143"/>
                  </a:lnTo>
                  <a:close/>
                  <a:moveTo>
                    <a:pt x="54" y="25"/>
                  </a:moveTo>
                  <a:lnTo>
                    <a:pt x="54" y="25"/>
                  </a:lnTo>
                  <a:lnTo>
                    <a:pt x="28" y="25"/>
                  </a:lnTo>
                  <a:lnTo>
                    <a:pt x="28" y="63"/>
                  </a:lnTo>
                  <a:lnTo>
                    <a:pt x="54" y="63"/>
                  </a:lnTo>
                  <a:cubicBezTo>
                    <a:pt x="66" y="63"/>
                    <a:pt x="74" y="55"/>
                    <a:pt x="74" y="44"/>
                  </a:cubicBezTo>
                  <a:cubicBezTo>
                    <a:pt x="74" y="33"/>
                    <a:pt x="66" y="25"/>
                    <a:pt x="54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9" name="Freeform 43"/>
            <p:cNvSpPr>
              <a:spLocks/>
            </p:cNvSpPr>
            <p:nvPr/>
          </p:nvSpPr>
          <p:spPr bwMode="auto">
            <a:xfrm>
              <a:off x="7916863" y="-495301"/>
              <a:ext cx="84138" cy="128588"/>
            </a:xfrm>
            <a:custGeom>
              <a:avLst/>
              <a:gdLst>
                <a:gd name="T0" fmla="*/ 0 w 94"/>
                <a:gd name="T1" fmla="*/ 143 h 143"/>
                <a:gd name="T2" fmla="*/ 0 w 94"/>
                <a:gd name="T3" fmla="*/ 143 h 143"/>
                <a:gd name="T4" fmla="*/ 0 w 94"/>
                <a:gd name="T5" fmla="*/ 0 h 143"/>
                <a:gd name="T6" fmla="*/ 94 w 94"/>
                <a:gd name="T7" fmla="*/ 0 h 143"/>
                <a:gd name="T8" fmla="*/ 94 w 94"/>
                <a:gd name="T9" fmla="*/ 25 h 143"/>
                <a:gd name="T10" fmla="*/ 28 w 94"/>
                <a:gd name="T11" fmla="*/ 25 h 143"/>
                <a:gd name="T12" fmla="*/ 28 w 94"/>
                <a:gd name="T13" fmla="*/ 59 h 143"/>
                <a:gd name="T14" fmla="*/ 84 w 94"/>
                <a:gd name="T15" fmla="*/ 59 h 143"/>
                <a:gd name="T16" fmla="*/ 84 w 94"/>
                <a:gd name="T17" fmla="*/ 83 h 143"/>
                <a:gd name="T18" fmla="*/ 28 w 94"/>
                <a:gd name="T19" fmla="*/ 83 h 143"/>
                <a:gd name="T20" fmla="*/ 28 w 94"/>
                <a:gd name="T21" fmla="*/ 118 h 143"/>
                <a:gd name="T22" fmla="*/ 94 w 94"/>
                <a:gd name="T23" fmla="*/ 118 h 143"/>
                <a:gd name="T24" fmla="*/ 94 w 94"/>
                <a:gd name="T25" fmla="*/ 143 h 143"/>
                <a:gd name="T26" fmla="*/ 0 w 94"/>
                <a:gd name="T27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4" h="143">
                  <a:moveTo>
                    <a:pt x="0" y="143"/>
                  </a:moveTo>
                  <a:lnTo>
                    <a:pt x="0" y="14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25"/>
                  </a:lnTo>
                  <a:lnTo>
                    <a:pt x="28" y="25"/>
                  </a:lnTo>
                  <a:lnTo>
                    <a:pt x="28" y="59"/>
                  </a:lnTo>
                  <a:lnTo>
                    <a:pt x="84" y="59"/>
                  </a:lnTo>
                  <a:lnTo>
                    <a:pt x="84" y="83"/>
                  </a:lnTo>
                  <a:lnTo>
                    <a:pt x="28" y="83"/>
                  </a:lnTo>
                  <a:lnTo>
                    <a:pt x="28" y="118"/>
                  </a:lnTo>
                  <a:lnTo>
                    <a:pt x="94" y="118"/>
                  </a:lnTo>
                  <a:lnTo>
                    <a:pt x="94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0" name="Freeform 44"/>
            <p:cNvSpPr>
              <a:spLocks/>
            </p:cNvSpPr>
            <p:nvPr/>
          </p:nvSpPr>
          <p:spPr bwMode="auto">
            <a:xfrm>
              <a:off x="8021638" y="-495301"/>
              <a:ext cx="93663" cy="128588"/>
            </a:xfrm>
            <a:custGeom>
              <a:avLst/>
              <a:gdLst>
                <a:gd name="T0" fmla="*/ 53 w 105"/>
                <a:gd name="T1" fmla="*/ 144 h 144"/>
                <a:gd name="T2" fmla="*/ 53 w 105"/>
                <a:gd name="T3" fmla="*/ 144 h 144"/>
                <a:gd name="T4" fmla="*/ 0 w 105"/>
                <a:gd name="T5" fmla="*/ 94 h 144"/>
                <a:gd name="T6" fmla="*/ 0 w 105"/>
                <a:gd name="T7" fmla="*/ 0 h 144"/>
                <a:gd name="T8" fmla="*/ 28 w 105"/>
                <a:gd name="T9" fmla="*/ 0 h 144"/>
                <a:gd name="T10" fmla="*/ 28 w 105"/>
                <a:gd name="T11" fmla="*/ 93 h 144"/>
                <a:gd name="T12" fmla="*/ 53 w 105"/>
                <a:gd name="T13" fmla="*/ 119 h 144"/>
                <a:gd name="T14" fmla="*/ 77 w 105"/>
                <a:gd name="T15" fmla="*/ 93 h 144"/>
                <a:gd name="T16" fmla="*/ 77 w 105"/>
                <a:gd name="T17" fmla="*/ 0 h 144"/>
                <a:gd name="T18" fmla="*/ 105 w 105"/>
                <a:gd name="T19" fmla="*/ 0 h 144"/>
                <a:gd name="T20" fmla="*/ 105 w 105"/>
                <a:gd name="T21" fmla="*/ 94 h 144"/>
                <a:gd name="T22" fmla="*/ 53 w 105"/>
                <a:gd name="T2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5" h="144">
                  <a:moveTo>
                    <a:pt x="53" y="144"/>
                  </a:moveTo>
                  <a:lnTo>
                    <a:pt x="53" y="144"/>
                  </a:lnTo>
                  <a:cubicBezTo>
                    <a:pt x="23" y="144"/>
                    <a:pt x="0" y="124"/>
                    <a:pt x="0" y="94"/>
                  </a:cubicBezTo>
                  <a:lnTo>
                    <a:pt x="0" y="0"/>
                  </a:lnTo>
                  <a:lnTo>
                    <a:pt x="28" y="0"/>
                  </a:lnTo>
                  <a:lnTo>
                    <a:pt x="28" y="93"/>
                  </a:lnTo>
                  <a:cubicBezTo>
                    <a:pt x="28" y="109"/>
                    <a:pt x="38" y="119"/>
                    <a:pt x="53" y="119"/>
                  </a:cubicBezTo>
                  <a:cubicBezTo>
                    <a:pt x="68" y="119"/>
                    <a:pt x="77" y="109"/>
                    <a:pt x="77" y="93"/>
                  </a:cubicBezTo>
                  <a:lnTo>
                    <a:pt x="77" y="0"/>
                  </a:lnTo>
                  <a:lnTo>
                    <a:pt x="105" y="0"/>
                  </a:lnTo>
                  <a:lnTo>
                    <a:pt x="105" y="94"/>
                  </a:lnTo>
                  <a:cubicBezTo>
                    <a:pt x="105" y="124"/>
                    <a:pt x="82" y="144"/>
                    <a:pt x="53" y="1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1" name="Freeform 45"/>
            <p:cNvSpPr>
              <a:spLocks/>
            </p:cNvSpPr>
            <p:nvPr/>
          </p:nvSpPr>
          <p:spPr bwMode="auto">
            <a:xfrm>
              <a:off x="8131175" y="-496888"/>
              <a:ext cx="92075" cy="130175"/>
            </a:xfrm>
            <a:custGeom>
              <a:avLst/>
              <a:gdLst>
                <a:gd name="T0" fmla="*/ 52 w 104"/>
                <a:gd name="T1" fmla="*/ 145 h 145"/>
                <a:gd name="T2" fmla="*/ 52 w 104"/>
                <a:gd name="T3" fmla="*/ 145 h 145"/>
                <a:gd name="T4" fmla="*/ 0 w 104"/>
                <a:gd name="T5" fmla="*/ 126 h 145"/>
                <a:gd name="T6" fmla="*/ 18 w 104"/>
                <a:gd name="T7" fmla="*/ 108 h 145"/>
                <a:gd name="T8" fmla="*/ 52 w 104"/>
                <a:gd name="T9" fmla="*/ 120 h 145"/>
                <a:gd name="T10" fmla="*/ 77 w 104"/>
                <a:gd name="T11" fmla="*/ 102 h 145"/>
                <a:gd name="T12" fmla="*/ 73 w 104"/>
                <a:gd name="T13" fmla="*/ 90 h 145"/>
                <a:gd name="T14" fmla="*/ 60 w 104"/>
                <a:gd name="T15" fmla="*/ 85 h 145"/>
                <a:gd name="T16" fmla="*/ 43 w 104"/>
                <a:gd name="T17" fmla="*/ 83 h 145"/>
                <a:gd name="T18" fmla="*/ 15 w 104"/>
                <a:gd name="T19" fmla="*/ 71 h 145"/>
                <a:gd name="T20" fmla="*/ 5 w 104"/>
                <a:gd name="T21" fmla="*/ 43 h 145"/>
                <a:gd name="T22" fmla="*/ 55 w 104"/>
                <a:gd name="T23" fmla="*/ 0 h 145"/>
                <a:gd name="T24" fmla="*/ 101 w 104"/>
                <a:gd name="T25" fmla="*/ 17 h 145"/>
                <a:gd name="T26" fmla="*/ 83 w 104"/>
                <a:gd name="T27" fmla="*/ 34 h 145"/>
                <a:gd name="T28" fmla="*/ 54 w 104"/>
                <a:gd name="T29" fmla="*/ 24 h 145"/>
                <a:gd name="T30" fmla="*/ 32 w 104"/>
                <a:gd name="T31" fmla="*/ 42 h 145"/>
                <a:gd name="T32" fmla="*/ 36 w 104"/>
                <a:gd name="T33" fmla="*/ 52 h 145"/>
                <a:gd name="T34" fmla="*/ 49 w 104"/>
                <a:gd name="T35" fmla="*/ 58 h 145"/>
                <a:gd name="T36" fmla="*/ 66 w 104"/>
                <a:gd name="T37" fmla="*/ 60 h 145"/>
                <a:gd name="T38" fmla="*/ 93 w 104"/>
                <a:gd name="T39" fmla="*/ 71 h 145"/>
                <a:gd name="T40" fmla="*/ 104 w 104"/>
                <a:gd name="T41" fmla="*/ 102 h 145"/>
                <a:gd name="T42" fmla="*/ 52 w 104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4" h="145">
                  <a:moveTo>
                    <a:pt x="52" y="145"/>
                  </a:moveTo>
                  <a:lnTo>
                    <a:pt x="52" y="145"/>
                  </a:lnTo>
                  <a:cubicBezTo>
                    <a:pt x="30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39" y="120"/>
                    <a:pt x="52" y="120"/>
                  </a:cubicBezTo>
                  <a:cubicBezTo>
                    <a:pt x="68" y="120"/>
                    <a:pt x="77" y="114"/>
                    <a:pt x="77" y="102"/>
                  </a:cubicBezTo>
                  <a:cubicBezTo>
                    <a:pt x="77" y="97"/>
                    <a:pt x="76" y="93"/>
                    <a:pt x="73" y="90"/>
                  </a:cubicBezTo>
                  <a:cubicBezTo>
                    <a:pt x="70" y="88"/>
                    <a:pt x="67" y="86"/>
                    <a:pt x="60" y="85"/>
                  </a:cubicBezTo>
                  <a:lnTo>
                    <a:pt x="43" y="83"/>
                  </a:lnTo>
                  <a:cubicBezTo>
                    <a:pt x="31" y="81"/>
                    <a:pt x="22" y="77"/>
                    <a:pt x="15" y="71"/>
                  </a:cubicBezTo>
                  <a:cubicBezTo>
                    <a:pt x="9" y="65"/>
                    <a:pt x="5" y="55"/>
                    <a:pt x="5" y="43"/>
                  </a:cubicBezTo>
                  <a:cubicBezTo>
                    <a:pt x="5" y="18"/>
                    <a:pt x="24" y="0"/>
                    <a:pt x="55" y="0"/>
                  </a:cubicBezTo>
                  <a:cubicBezTo>
                    <a:pt x="74" y="0"/>
                    <a:pt x="89" y="5"/>
                    <a:pt x="101" y="17"/>
                  </a:cubicBezTo>
                  <a:lnTo>
                    <a:pt x="83" y="34"/>
                  </a:lnTo>
                  <a:cubicBezTo>
                    <a:pt x="74" y="26"/>
                    <a:pt x="63" y="24"/>
                    <a:pt x="54" y="24"/>
                  </a:cubicBezTo>
                  <a:cubicBezTo>
                    <a:pt x="39" y="24"/>
                    <a:pt x="32" y="32"/>
                    <a:pt x="32" y="42"/>
                  </a:cubicBezTo>
                  <a:cubicBezTo>
                    <a:pt x="32" y="46"/>
                    <a:pt x="33" y="50"/>
                    <a:pt x="36" y="52"/>
                  </a:cubicBezTo>
                  <a:cubicBezTo>
                    <a:pt x="39" y="55"/>
                    <a:pt x="44" y="57"/>
                    <a:pt x="49" y="58"/>
                  </a:cubicBezTo>
                  <a:lnTo>
                    <a:pt x="66" y="60"/>
                  </a:lnTo>
                  <a:cubicBezTo>
                    <a:pt x="79" y="62"/>
                    <a:pt x="87" y="66"/>
                    <a:pt x="93" y="71"/>
                  </a:cubicBezTo>
                  <a:cubicBezTo>
                    <a:pt x="101" y="79"/>
                    <a:pt x="104" y="89"/>
                    <a:pt x="104" y="102"/>
                  </a:cubicBezTo>
                  <a:cubicBezTo>
                    <a:pt x="104" y="129"/>
                    <a:pt x="81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2" name="Freeform 46"/>
            <p:cNvSpPr>
              <a:spLocks/>
            </p:cNvSpPr>
            <p:nvPr/>
          </p:nvSpPr>
          <p:spPr bwMode="auto">
            <a:xfrm>
              <a:off x="8245475" y="-495301"/>
              <a:ext cx="84138" cy="128588"/>
            </a:xfrm>
            <a:custGeom>
              <a:avLst/>
              <a:gdLst>
                <a:gd name="T0" fmla="*/ 0 w 93"/>
                <a:gd name="T1" fmla="*/ 143 h 143"/>
                <a:gd name="T2" fmla="*/ 0 w 93"/>
                <a:gd name="T3" fmla="*/ 143 h 143"/>
                <a:gd name="T4" fmla="*/ 0 w 93"/>
                <a:gd name="T5" fmla="*/ 0 h 143"/>
                <a:gd name="T6" fmla="*/ 93 w 93"/>
                <a:gd name="T7" fmla="*/ 0 h 143"/>
                <a:gd name="T8" fmla="*/ 93 w 93"/>
                <a:gd name="T9" fmla="*/ 25 h 143"/>
                <a:gd name="T10" fmla="*/ 27 w 93"/>
                <a:gd name="T11" fmla="*/ 25 h 143"/>
                <a:gd name="T12" fmla="*/ 27 w 93"/>
                <a:gd name="T13" fmla="*/ 59 h 143"/>
                <a:gd name="T14" fmla="*/ 84 w 93"/>
                <a:gd name="T15" fmla="*/ 59 h 143"/>
                <a:gd name="T16" fmla="*/ 84 w 93"/>
                <a:gd name="T17" fmla="*/ 83 h 143"/>
                <a:gd name="T18" fmla="*/ 27 w 93"/>
                <a:gd name="T19" fmla="*/ 83 h 143"/>
                <a:gd name="T20" fmla="*/ 27 w 93"/>
                <a:gd name="T21" fmla="*/ 118 h 143"/>
                <a:gd name="T22" fmla="*/ 93 w 93"/>
                <a:gd name="T23" fmla="*/ 118 h 143"/>
                <a:gd name="T24" fmla="*/ 93 w 93"/>
                <a:gd name="T25" fmla="*/ 143 h 143"/>
                <a:gd name="T26" fmla="*/ 0 w 93"/>
                <a:gd name="T27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3" h="143">
                  <a:moveTo>
                    <a:pt x="0" y="143"/>
                  </a:moveTo>
                  <a:lnTo>
                    <a:pt x="0" y="143"/>
                  </a:lnTo>
                  <a:lnTo>
                    <a:pt x="0" y="0"/>
                  </a:lnTo>
                  <a:lnTo>
                    <a:pt x="93" y="0"/>
                  </a:lnTo>
                  <a:lnTo>
                    <a:pt x="93" y="25"/>
                  </a:lnTo>
                  <a:lnTo>
                    <a:pt x="27" y="25"/>
                  </a:lnTo>
                  <a:lnTo>
                    <a:pt x="27" y="59"/>
                  </a:lnTo>
                  <a:lnTo>
                    <a:pt x="84" y="59"/>
                  </a:lnTo>
                  <a:lnTo>
                    <a:pt x="84" y="83"/>
                  </a:lnTo>
                  <a:lnTo>
                    <a:pt x="27" y="83"/>
                  </a:lnTo>
                  <a:lnTo>
                    <a:pt x="27" y="118"/>
                  </a:lnTo>
                  <a:lnTo>
                    <a:pt x="93" y="118"/>
                  </a:lnTo>
                  <a:lnTo>
                    <a:pt x="93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3" name="Freeform 47"/>
            <p:cNvSpPr>
              <a:spLocks/>
            </p:cNvSpPr>
            <p:nvPr/>
          </p:nvSpPr>
          <p:spPr bwMode="auto">
            <a:xfrm>
              <a:off x="8342313" y="-508001"/>
              <a:ext cx="71438" cy="153988"/>
            </a:xfrm>
            <a:custGeom>
              <a:avLst/>
              <a:gdLst>
                <a:gd name="T0" fmla="*/ 57 w 81"/>
                <a:gd name="T1" fmla="*/ 0 h 172"/>
                <a:gd name="T2" fmla="*/ 57 w 81"/>
                <a:gd name="T3" fmla="*/ 0 h 172"/>
                <a:gd name="T4" fmla="*/ 0 w 81"/>
                <a:gd name="T5" fmla="*/ 172 h 172"/>
                <a:gd name="T6" fmla="*/ 24 w 81"/>
                <a:gd name="T7" fmla="*/ 172 h 172"/>
                <a:gd name="T8" fmla="*/ 81 w 81"/>
                <a:gd name="T9" fmla="*/ 0 h 172"/>
                <a:gd name="T10" fmla="*/ 57 w 81"/>
                <a:gd name="T11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172">
                  <a:moveTo>
                    <a:pt x="57" y="0"/>
                  </a:moveTo>
                  <a:lnTo>
                    <a:pt x="57" y="0"/>
                  </a:lnTo>
                  <a:lnTo>
                    <a:pt x="0" y="172"/>
                  </a:lnTo>
                  <a:lnTo>
                    <a:pt x="24" y="172"/>
                  </a:lnTo>
                  <a:lnTo>
                    <a:pt x="81" y="0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4" name="Freeform 48"/>
            <p:cNvSpPr>
              <a:spLocks noEditPoints="1"/>
            </p:cNvSpPr>
            <p:nvPr/>
          </p:nvSpPr>
          <p:spPr bwMode="auto">
            <a:xfrm>
              <a:off x="8429625" y="-495301"/>
              <a:ext cx="93663" cy="128588"/>
            </a:xfrm>
            <a:custGeom>
              <a:avLst/>
              <a:gdLst>
                <a:gd name="T0" fmla="*/ 89 w 105"/>
                <a:gd name="T1" fmla="*/ 129 h 143"/>
                <a:gd name="T2" fmla="*/ 89 w 105"/>
                <a:gd name="T3" fmla="*/ 129 h 143"/>
                <a:gd name="T4" fmla="*/ 51 w 105"/>
                <a:gd name="T5" fmla="*/ 143 h 143"/>
                <a:gd name="T6" fmla="*/ 0 w 105"/>
                <a:gd name="T7" fmla="*/ 143 h 143"/>
                <a:gd name="T8" fmla="*/ 0 w 105"/>
                <a:gd name="T9" fmla="*/ 0 h 143"/>
                <a:gd name="T10" fmla="*/ 51 w 105"/>
                <a:gd name="T11" fmla="*/ 0 h 143"/>
                <a:gd name="T12" fmla="*/ 89 w 105"/>
                <a:gd name="T13" fmla="*/ 14 h 143"/>
                <a:gd name="T14" fmla="*/ 103 w 105"/>
                <a:gd name="T15" fmla="*/ 71 h 143"/>
                <a:gd name="T16" fmla="*/ 89 w 105"/>
                <a:gd name="T17" fmla="*/ 129 h 143"/>
                <a:gd name="T18" fmla="*/ 69 w 105"/>
                <a:gd name="T19" fmla="*/ 34 h 143"/>
                <a:gd name="T20" fmla="*/ 69 w 105"/>
                <a:gd name="T21" fmla="*/ 34 h 143"/>
                <a:gd name="T22" fmla="*/ 48 w 105"/>
                <a:gd name="T23" fmla="*/ 25 h 143"/>
                <a:gd name="T24" fmla="*/ 27 w 105"/>
                <a:gd name="T25" fmla="*/ 25 h 143"/>
                <a:gd name="T26" fmla="*/ 27 w 105"/>
                <a:gd name="T27" fmla="*/ 118 h 143"/>
                <a:gd name="T28" fmla="*/ 48 w 105"/>
                <a:gd name="T29" fmla="*/ 118 h 143"/>
                <a:gd name="T30" fmla="*/ 69 w 105"/>
                <a:gd name="T31" fmla="*/ 109 h 143"/>
                <a:gd name="T32" fmla="*/ 75 w 105"/>
                <a:gd name="T33" fmla="*/ 71 h 143"/>
                <a:gd name="T34" fmla="*/ 69 w 105"/>
                <a:gd name="T35" fmla="*/ 3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" h="143">
                  <a:moveTo>
                    <a:pt x="89" y="129"/>
                  </a:moveTo>
                  <a:lnTo>
                    <a:pt x="89" y="129"/>
                  </a:lnTo>
                  <a:cubicBezTo>
                    <a:pt x="79" y="138"/>
                    <a:pt x="66" y="143"/>
                    <a:pt x="51" y="143"/>
                  </a:cubicBezTo>
                  <a:lnTo>
                    <a:pt x="0" y="143"/>
                  </a:lnTo>
                  <a:lnTo>
                    <a:pt x="0" y="0"/>
                  </a:lnTo>
                  <a:lnTo>
                    <a:pt x="51" y="0"/>
                  </a:lnTo>
                  <a:cubicBezTo>
                    <a:pt x="66" y="0"/>
                    <a:pt x="79" y="5"/>
                    <a:pt x="89" y="14"/>
                  </a:cubicBezTo>
                  <a:cubicBezTo>
                    <a:pt x="105" y="30"/>
                    <a:pt x="103" y="50"/>
                    <a:pt x="103" y="71"/>
                  </a:cubicBezTo>
                  <a:cubicBezTo>
                    <a:pt x="103" y="92"/>
                    <a:pt x="105" y="113"/>
                    <a:pt x="89" y="129"/>
                  </a:cubicBezTo>
                  <a:close/>
                  <a:moveTo>
                    <a:pt x="69" y="34"/>
                  </a:moveTo>
                  <a:lnTo>
                    <a:pt x="69" y="34"/>
                  </a:lnTo>
                  <a:cubicBezTo>
                    <a:pt x="64" y="28"/>
                    <a:pt x="58" y="25"/>
                    <a:pt x="48" y="25"/>
                  </a:cubicBezTo>
                  <a:lnTo>
                    <a:pt x="27" y="25"/>
                  </a:lnTo>
                  <a:lnTo>
                    <a:pt x="27" y="118"/>
                  </a:lnTo>
                  <a:lnTo>
                    <a:pt x="48" y="118"/>
                  </a:lnTo>
                  <a:cubicBezTo>
                    <a:pt x="58" y="118"/>
                    <a:pt x="64" y="115"/>
                    <a:pt x="69" y="109"/>
                  </a:cubicBezTo>
                  <a:cubicBezTo>
                    <a:pt x="74" y="103"/>
                    <a:pt x="75" y="93"/>
                    <a:pt x="75" y="71"/>
                  </a:cubicBezTo>
                  <a:cubicBezTo>
                    <a:pt x="75" y="49"/>
                    <a:pt x="74" y="40"/>
                    <a:pt x="69" y="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5" name="Freeform 49"/>
            <p:cNvSpPr>
              <a:spLocks/>
            </p:cNvSpPr>
            <p:nvPr/>
          </p:nvSpPr>
          <p:spPr bwMode="auto">
            <a:xfrm>
              <a:off x="8545513" y="-495301"/>
              <a:ext cx="25400" cy="128588"/>
            </a:xfrm>
            <a:custGeom>
              <a:avLst/>
              <a:gdLst>
                <a:gd name="T0" fmla="*/ 0 w 27"/>
                <a:gd name="T1" fmla="*/ 0 h 143"/>
                <a:gd name="T2" fmla="*/ 0 w 27"/>
                <a:gd name="T3" fmla="*/ 0 h 143"/>
                <a:gd name="T4" fmla="*/ 27 w 27"/>
                <a:gd name="T5" fmla="*/ 0 h 143"/>
                <a:gd name="T6" fmla="*/ 27 w 27"/>
                <a:gd name="T7" fmla="*/ 143 h 143"/>
                <a:gd name="T8" fmla="*/ 0 w 27"/>
                <a:gd name="T9" fmla="*/ 143 h 143"/>
                <a:gd name="T10" fmla="*/ 0 w 27"/>
                <a:gd name="T11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143">
                  <a:moveTo>
                    <a:pt x="0" y="0"/>
                  </a:moveTo>
                  <a:lnTo>
                    <a:pt x="0" y="0"/>
                  </a:lnTo>
                  <a:lnTo>
                    <a:pt x="27" y="0"/>
                  </a:lnTo>
                  <a:lnTo>
                    <a:pt x="27" y="143"/>
                  </a:lnTo>
                  <a:lnTo>
                    <a:pt x="0" y="14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6" name="Freeform 50"/>
            <p:cNvSpPr>
              <a:spLocks/>
            </p:cNvSpPr>
            <p:nvPr/>
          </p:nvSpPr>
          <p:spPr bwMode="auto">
            <a:xfrm>
              <a:off x="8589963" y="-496888"/>
              <a:ext cx="92075" cy="130175"/>
            </a:xfrm>
            <a:custGeom>
              <a:avLst/>
              <a:gdLst>
                <a:gd name="T0" fmla="*/ 52 w 104"/>
                <a:gd name="T1" fmla="*/ 145 h 145"/>
                <a:gd name="T2" fmla="*/ 52 w 104"/>
                <a:gd name="T3" fmla="*/ 145 h 145"/>
                <a:gd name="T4" fmla="*/ 0 w 104"/>
                <a:gd name="T5" fmla="*/ 126 h 145"/>
                <a:gd name="T6" fmla="*/ 18 w 104"/>
                <a:gd name="T7" fmla="*/ 108 h 145"/>
                <a:gd name="T8" fmla="*/ 52 w 104"/>
                <a:gd name="T9" fmla="*/ 120 h 145"/>
                <a:gd name="T10" fmla="*/ 77 w 104"/>
                <a:gd name="T11" fmla="*/ 102 h 145"/>
                <a:gd name="T12" fmla="*/ 73 w 104"/>
                <a:gd name="T13" fmla="*/ 90 h 145"/>
                <a:gd name="T14" fmla="*/ 60 w 104"/>
                <a:gd name="T15" fmla="*/ 85 h 145"/>
                <a:gd name="T16" fmla="*/ 43 w 104"/>
                <a:gd name="T17" fmla="*/ 83 h 145"/>
                <a:gd name="T18" fmla="*/ 15 w 104"/>
                <a:gd name="T19" fmla="*/ 71 h 145"/>
                <a:gd name="T20" fmla="*/ 5 w 104"/>
                <a:gd name="T21" fmla="*/ 43 h 145"/>
                <a:gd name="T22" fmla="*/ 55 w 104"/>
                <a:gd name="T23" fmla="*/ 0 h 145"/>
                <a:gd name="T24" fmla="*/ 101 w 104"/>
                <a:gd name="T25" fmla="*/ 17 h 145"/>
                <a:gd name="T26" fmla="*/ 83 w 104"/>
                <a:gd name="T27" fmla="*/ 34 h 145"/>
                <a:gd name="T28" fmla="*/ 54 w 104"/>
                <a:gd name="T29" fmla="*/ 24 h 145"/>
                <a:gd name="T30" fmla="*/ 32 w 104"/>
                <a:gd name="T31" fmla="*/ 42 h 145"/>
                <a:gd name="T32" fmla="*/ 36 w 104"/>
                <a:gd name="T33" fmla="*/ 52 h 145"/>
                <a:gd name="T34" fmla="*/ 49 w 104"/>
                <a:gd name="T35" fmla="*/ 58 h 145"/>
                <a:gd name="T36" fmla="*/ 66 w 104"/>
                <a:gd name="T37" fmla="*/ 60 h 145"/>
                <a:gd name="T38" fmla="*/ 93 w 104"/>
                <a:gd name="T39" fmla="*/ 71 h 145"/>
                <a:gd name="T40" fmla="*/ 104 w 104"/>
                <a:gd name="T41" fmla="*/ 102 h 145"/>
                <a:gd name="T42" fmla="*/ 52 w 104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4" h="145">
                  <a:moveTo>
                    <a:pt x="52" y="145"/>
                  </a:moveTo>
                  <a:lnTo>
                    <a:pt x="52" y="145"/>
                  </a:lnTo>
                  <a:cubicBezTo>
                    <a:pt x="30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39" y="120"/>
                    <a:pt x="52" y="120"/>
                  </a:cubicBezTo>
                  <a:cubicBezTo>
                    <a:pt x="68" y="120"/>
                    <a:pt x="77" y="114"/>
                    <a:pt x="77" y="102"/>
                  </a:cubicBezTo>
                  <a:cubicBezTo>
                    <a:pt x="77" y="97"/>
                    <a:pt x="76" y="93"/>
                    <a:pt x="73" y="90"/>
                  </a:cubicBezTo>
                  <a:cubicBezTo>
                    <a:pt x="70" y="88"/>
                    <a:pt x="67" y="86"/>
                    <a:pt x="60" y="85"/>
                  </a:cubicBezTo>
                  <a:lnTo>
                    <a:pt x="43" y="83"/>
                  </a:lnTo>
                  <a:cubicBezTo>
                    <a:pt x="31" y="81"/>
                    <a:pt x="22" y="77"/>
                    <a:pt x="15" y="71"/>
                  </a:cubicBezTo>
                  <a:cubicBezTo>
                    <a:pt x="9" y="65"/>
                    <a:pt x="5" y="55"/>
                    <a:pt x="5" y="43"/>
                  </a:cubicBezTo>
                  <a:cubicBezTo>
                    <a:pt x="5" y="18"/>
                    <a:pt x="24" y="0"/>
                    <a:pt x="55" y="0"/>
                  </a:cubicBezTo>
                  <a:cubicBezTo>
                    <a:pt x="74" y="0"/>
                    <a:pt x="89" y="5"/>
                    <a:pt x="101" y="17"/>
                  </a:cubicBezTo>
                  <a:lnTo>
                    <a:pt x="83" y="34"/>
                  </a:lnTo>
                  <a:cubicBezTo>
                    <a:pt x="74" y="26"/>
                    <a:pt x="63" y="24"/>
                    <a:pt x="54" y="24"/>
                  </a:cubicBezTo>
                  <a:cubicBezTo>
                    <a:pt x="39" y="24"/>
                    <a:pt x="32" y="32"/>
                    <a:pt x="32" y="42"/>
                  </a:cubicBezTo>
                  <a:cubicBezTo>
                    <a:pt x="32" y="46"/>
                    <a:pt x="33" y="50"/>
                    <a:pt x="36" y="52"/>
                  </a:cubicBezTo>
                  <a:cubicBezTo>
                    <a:pt x="39" y="55"/>
                    <a:pt x="44" y="57"/>
                    <a:pt x="49" y="58"/>
                  </a:cubicBezTo>
                  <a:lnTo>
                    <a:pt x="66" y="60"/>
                  </a:lnTo>
                  <a:cubicBezTo>
                    <a:pt x="79" y="62"/>
                    <a:pt x="87" y="66"/>
                    <a:pt x="93" y="71"/>
                  </a:cubicBezTo>
                  <a:cubicBezTo>
                    <a:pt x="101" y="79"/>
                    <a:pt x="104" y="89"/>
                    <a:pt x="104" y="102"/>
                  </a:cubicBezTo>
                  <a:cubicBezTo>
                    <a:pt x="104" y="129"/>
                    <a:pt x="81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7" name="Freeform 51"/>
            <p:cNvSpPr>
              <a:spLocks noEditPoints="1"/>
            </p:cNvSpPr>
            <p:nvPr/>
          </p:nvSpPr>
          <p:spPr bwMode="auto">
            <a:xfrm>
              <a:off x="8704263" y="-495301"/>
              <a:ext cx="92075" cy="128588"/>
            </a:xfrm>
            <a:custGeom>
              <a:avLst/>
              <a:gdLst>
                <a:gd name="T0" fmla="*/ 55 w 102"/>
                <a:gd name="T1" fmla="*/ 89 h 143"/>
                <a:gd name="T2" fmla="*/ 55 w 102"/>
                <a:gd name="T3" fmla="*/ 89 h 143"/>
                <a:gd name="T4" fmla="*/ 27 w 102"/>
                <a:gd name="T5" fmla="*/ 89 h 143"/>
                <a:gd name="T6" fmla="*/ 27 w 102"/>
                <a:gd name="T7" fmla="*/ 143 h 143"/>
                <a:gd name="T8" fmla="*/ 0 w 102"/>
                <a:gd name="T9" fmla="*/ 143 h 143"/>
                <a:gd name="T10" fmla="*/ 0 w 102"/>
                <a:gd name="T11" fmla="*/ 0 h 143"/>
                <a:gd name="T12" fmla="*/ 55 w 102"/>
                <a:gd name="T13" fmla="*/ 0 h 143"/>
                <a:gd name="T14" fmla="*/ 102 w 102"/>
                <a:gd name="T15" fmla="*/ 45 h 143"/>
                <a:gd name="T16" fmla="*/ 55 w 102"/>
                <a:gd name="T17" fmla="*/ 89 h 143"/>
                <a:gd name="T18" fmla="*/ 53 w 102"/>
                <a:gd name="T19" fmla="*/ 25 h 143"/>
                <a:gd name="T20" fmla="*/ 53 w 102"/>
                <a:gd name="T21" fmla="*/ 25 h 143"/>
                <a:gd name="T22" fmla="*/ 27 w 102"/>
                <a:gd name="T23" fmla="*/ 25 h 143"/>
                <a:gd name="T24" fmla="*/ 27 w 102"/>
                <a:gd name="T25" fmla="*/ 64 h 143"/>
                <a:gd name="T26" fmla="*/ 53 w 102"/>
                <a:gd name="T27" fmla="*/ 64 h 143"/>
                <a:gd name="T28" fmla="*/ 74 w 102"/>
                <a:gd name="T29" fmla="*/ 45 h 143"/>
                <a:gd name="T30" fmla="*/ 53 w 102"/>
                <a:gd name="T31" fmla="*/ 2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2" h="143">
                  <a:moveTo>
                    <a:pt x="55" y="89"/>
                  </a:moveTo>
                  <a:lnTo>
                    <a:pt x="55" y="89"/>
                  </a:lnTo>
                  <a:lnTo>
                    <a:pt x="27" y="89"/>
                  </a:lnTo>
                  <a:lnTo>
                    <a:pt x="27" y="143"/>
                  </a:lnTo>
                  <a:lnTo>
                    <a:pt x="0" y="143"/>
                  </a:lnTo>
                  <a:lnTo>
                    <a:pt x="0" y="0"/>
                  </a:lnTo>
                  <a:lnTo>
                    <a:pt x="55" y="0"/>
                  </a:lnTo>
                  <a:cubicBezTo>
                    <a:pt x="84" y="0"/>
                    <a:pt x="102" y="20"/>
                    <a:pt x="102" y="45"/>
                  </a:cubicBezTo>
                  <a:cubicBezTo>
                    <a:pt x="102" y="69"/>
                    <a:pt x="84" y="89"/>
                    <a:pt x="55" y="89"/>
                  </a:cubicBezTo>
                  <a:close/>
                  <a:moveTo>
                    <a:pt x="53" y="25"/>
                  </a:moveTo>
                  <a:lnTo>
                    <a:pt x="53" y="25"/>
                  </a:lnTo>
                  <a:lnTo>
                    <a:pt x="27" y="25"/>
                  </a:lnTo>
                  <a:lnTo>
                    <a:pt x="27" y="64"/>
                  </a:lnTo>
                  <a:lnTo>
                    <a:pt x="53" y="64"/>
                  </a:lnTo>
                  <a:cubicBezTo>
                    <a:pt x="66" y="64"/>
                    <a:pt x="74" y="56"/>
                    <a:pt x="74" y="45"/>
                  </a:cubicBezTo>
                  <a:cubicBezTo>
                    <a:pt x="74" y="33"/>
                    <a:pt x="66" y="25"/>
                    <a:pt x="53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8" name="Freeform 52"/>
            <p:cNvSpPr>
              <a:spLocks noEditPoints="1"/>
            </p:cNvSpPr>
            <p:nvPr/>
          </p:nvSpPr>
          <p:spPr bwMode="auto">
            <a:xfrm>
              <a:off x="8813800" y="-496888"/>
              <a:ext cx="93663" cy="130175"/>
            </a:xfrm>
            <a:custGeom>
              <a:avLst/>
              <a:gdLst>
                <a:gd name="T0" fmla="*/ 91 w 106"/>
                <a:gd name="T1" fmla="*/ 129 h 145"/>
                <a:gd name="T2" fmla="*/ 91 w 106"/>
                <a:gd name="T3" fmla="*/ 129 h 145"/>
                <a:gd name="T4" fmla="*/ 53 w 106"/>
                <a:gd name="T5" fmla="*/ 145 h 145"/>
                <a:gd name="T6" fmla="*/ 14 w 106"/>
                <a:gd name="T7" fmla="*/ 129 h 145"/>
                <a:gd name="T8" fmla="*/ 0 w 106"/>
                <a:gd name="T9" fmla="*/ 72 h 145"/>
                <a:gd name="T10" fmla="*/ 14 w 106"/>
                <a:gd name="T11" fmla="*/ 16 h 145"/>
                <a:gd name="T12" fmla="*/ 53 w 106"/>
                <a:gd name="T13" fmla="*/ 0 h 145"/>
                <a:gd name="T14" fmla="*/ 91 w 106"/>
                <a:gd name="T15" fmla="*/ 16 h 145"/>
                <a:gd name="T16" fmla="*/ 105 w 106"/>
                <a:gd name="T17" fmla="*/ 72 h 145"/>
                <a:gd name="T18" fmla="*/ 91 w 106"/>
                <a:gd name="T19" fmla="*/ 129 h 145"/>
                <a:gd name="T20" fmla="*/ 71 w 106"/>
                <a:gd name="T21" fmla="*/ 32 h 145"/>
                <a:gd name="T22" fmla="*/ 71 w 106"/>
                <a:gd name="T23" fmla="*/ 32 h 145"/>
                <a:gd name="T24" fmla="*/ 53 w 106"/>
                <a:gd name="T25" fmla="*/ 25 h 145"/>
                <a:gd name="T26" fmla="*/ 35 w 106"/>
                <a:gd name="T27" fmla="*/ 32 h 145"/>
                <a:gd name="T28" fmla="*/ 28 w 106"/>
                <a:gd name="T29" fmla="*/ 72 h 145"/>
                <a:gd name="T30" fmla="*/ 35 w 106"/>
                <a:gd name="T31" fmla="*/ 112 h 145"/>
                <a:gd name="T32" fmla="*/ 53 w 106"/>
                <a:gd name="T33" fmla="*/ 120 h 145"/>
                <a:gd name="T34" fmla="*/ 71 w 106"/>
                <a:gd name="T35" fmla="*/ 112 h 145"/>
                <a:gd name="T36" fmla="*/ 78 w 106"/>
                <a:gd name="T37" fmla="*/ 72 h 145"/>
                <a:gd name="T38" fmla="*/ 71 w 106"/>
                <a:gd name="T39" fmla="*/ 32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6" h="145">
                  <a:moveTo>
                    <a:pt x="91" y="129"/>
                  </a:moveTo>
                  <a:lnTo>
                    <a:pt x="91" y="129"/>
                  </a:lnTo>
                  <a:cubicBezTo>
                    <a:pt x="81" y="139"/>
                    <a:pt x="69" y="145"/>
                    <a:pt x="53" y="145"/>
                  </a:cubicBezTo>
                  <a:cubicBezTo>
                    <a:pt x="37" y="145"/>
                    <a:pt x="24" y="139"/>
                    <a:pt x="14" y="129"/>
                  </a:cubicBezTo>
                  <a:cubicBezTo>
                    <a:pt x="0" y="115"/>
                    <a:pt x="0" y="97"/>
                    <a:pt x="0" y="72"/>
                  </a:cubicBezTo>
                  <a:cubicBezTo>
                    <a:pt x="0" y="48"/>
                    <a:pt x="0" y="30"/>
                    <a:pt x="14" y="16"/>
                  </a:cubicBezTo>
                  <a:cubicBezTo>
                    <a:pt x="24" y="6"/>
                    <a:pt x="37" y="0"/>
                    <a:pt x="53" y="0"/>
                  </a:cubicBezTo>
                  <a:cubicBezTo>
                    <a:pt x="69" y="0"/>
                    <a:pt x="81" y="6"/>
                    <a:pt x="91" y="16"/>
                  </a:cubicBezTo>
                  <a:cubicBezTo>
                    <a:pt x="106" y="30"/>
                    <a:pt x="105" y="48"/>
                    <a:pt x="105" y="72"/>
                  </a:cubicBezTo>
                  <a:cubicBezTo>
                    <a:pt x="105" y="97"/>
                    <a:pt x="106" y="115"/>
                    <a:pt x="91" y="129"/>
                  </a:cubicBezTo>
                  <a:close/>
                  <a:moveTo>
                    <a:pt x="71" y="32"/>
                  </a:moveTo>
                  <a:lnTo>
                    <a:pt x="71" y="32"/>
                  </a:lnTo>
                  <a:cubicBezTo>
                    <a:pt x="67" y="28"/>
                    <a:pt x="60" y="25"/>
                    <a:pt x="53" y="25"/>
                  </a:cubicBezTo>
                  <a:cubicBezTo>
                    <a:pt x="45" y="25"/>
                    <a:pt x="39" y="28"/>
                    <a:pt x="35" y="32"/>
                  </a:cubicBezTo>
                  <a:cubicBezTo>
                    <a:pt x="29" y="38"/>
                    <a:pt x="28" y="45"/>
                    <a:pt x="28" y="72"/>
                  </a:cubicBezTo>
                  <a:cubicBezTo>
                    <a:pt x="28" y="100"/>
                    <a:pt x="29" y="106"/>
                    <a:pt x="35" y="112"/>
                  </a:cubicBezTo>
                  <a:cubicBezTo>
                    <a:pt x="39" y="117"/>
                    <a:pt x="45" y="120"/>
                    <a:pt x="53" y="120"/>
                  </a:cubicBezTo>
                  <a:cubicBezTo>
                    <a:pt x="60" y="120"/>
                    <a:pt x="67" y="117"/>
                    <a:pt x="71" y="112"/>
                  </a:cubicBezTo>
                  <a:cubicBezTo>
                    <a:pt x="76" y="106"/>
                    <a:pt x="78" y="100"/>
                    <a:pt x="78" y="72"/>
                  </a:cubicBezTo>
                  <a:cubicBezTo>
                    <a:pt x="78" y="45"/>
                    <a:pt x="76" y="38"/>
                    <a:pt x="71" y="3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9" name="Freeform 53"/>
            <p:cNvSpPr>
              <a:spLocks/>
            </p:cNvSpPr>
            <p:nvPr/>
          </p:nvSpPr>
          <p:spPr bwMode="auto">
            <a:xfrm>
              <a:off x="8921750" y="-496888"/>
              <a:ext cx="93663" cy="130175"/>
            </a:xfrm>
            <a:custGeom>
              <a:avLst/>
              <a:gdLst>
                <a:gd name="T0" fmla="*/ 52 w 105"/>
                <a:gd name="T1" fmla="*/ 145 h 145"/>
                <a:gd name="T2" fmla="*/ 52 w 105"/>
                <a:gd name="T3" fmla="*/ 145 h 145"/>
                <a:gd name="T4" fmla="*/ 0 w 105"/>
                <a:gd name="T5" fmla="*/ 126 h 145"/>
                <a:gd name="T6" fmla="*/ 18 w 105"/>
                <a:gd name="T7" fmla="*/ 108 h 145"/>
                <a:gd name="T8" fmla="*/ 53 w 105"/>
                <a:gd name="T9" fmla="*/ 120 h 145"/>
                <a:gd name="T10" fmla="*/ 78 w 105"/>
                <a:gd name="T11" fmla="*/ 102 h 145"/>
                <a:gd name="T12" fmla="*/ 74 w 105"/>
                <a:gd name="T13" fmla="*/ 90 h 145"/>
                <a:gd name="T14" fmla="*/ 61 w 105"/>
                <a:gd name="T15" fmla="*/ 85 h 145"/>
                <a:gd name="T16" fmla="*/ 44 w 105"/>
                <a:gd name="T17" fmla="*/ 83 h 145"/>
                <a:gd name="T18" fmla="*/ 16 w 105"/>
                <a:gd name="T19" fmla="*/ 71 h 145"/>
                <a:gd name="T20" fmla="*/ 6 w 105"/>
                <a:gd name="T21" fmla="*/ 43 h 145"/>
                <a:gd name="T22" fmla="*/ 56 w 105"/>
                <a:gd name="T23" fmla="*/ 0 h 145"/>
                <a:gd name="T24" fmla="*/ 102 w 105"/>
                <a:gd name="T25" fmla="*/ 17 h 145"/>
                <a:gd name="T26" fmla="*/ 84 w 105"/>
                <a:gd name="T27" fmla="*/ 34 h 145"/>
                <a:gd name="T28" fmla="*/ 55 w 105"/>
                <a:gd name="T29" fmla="*/ 24 h 145"/>
                <a:gd name="T30" fmla="*/ 33 w 105"/>
                <a:gd name="T31" fmla="*/ 42 h 145"/>
                <a:gd name="T32" fmla="*/ 37 w 105"/>
                <a:gd name="T33" fmla="*/ 52 h 145"/>
                <a:gd name="T34" fmla="*/ 50 w 105"/>
                <a:gd name="T35" fmla="*/ 58 h 145"/>
                <a:gd name="T36" fmla="*/ 67 w 105"/>
                <a:gd name="T37" fmla="*/ 60 h 145"/>
                <a:gd name="T38" fmla="*/ 94 w 105"/>
                <a:gd name="T39" fmla="*/ 71 h 145"/>
                <a:gd name="T40" fmla="*/ 105 w 105"/>
                <a:gd name="T41" fmla="*/ 102 h 145"/>
                <a:gd name="T42" fmla="*/ 52 w 105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5" h="145">
                  <a:moveTo>
                    <a:pt x="52" y="145"/>
                  </a:moveTo>
                  <a:lnTo>
                    <a:pt x="52" y="145"/>
                  </a:lnTo>
                  <a:cubicBezTo>
                    <a:pt x="31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40" y="120"/>
                    <a:pt x="53" y="120"/>
                  </a:cubicBezTo>
                  <a:cubicBezTo>
                    <a:pt x="69" y="120"/>
                    <a:pt x="78" y="114"/>
                    <a:pt x="78" y="102"/>
                  </a:cubicBezTo>
                  <a:cubicBezTo>
                    <a:pt x="78" y="97"/>
                    <a:pt x="77" y="93"/>
                    <a:pt x="74" y="90"/>
                  </a:cubicBezTo>
                  <a:cubicBezTo>
                    <a:pt x="71" y="88"/>
                    <a:pt x="68" y="86"/>
                    <a:pt x="61" y="85"/>
                  </a:cubicBezTo>
                  <a:lnTo>
                    <a:pt x="44" y="83"/>
                  </a:lnTo>
                  <a:cubicBezTo>
                    <a:pt x="32" y="81"/>
                    <a:pt x="23" y="77"/>
                    <a:pt x="16" y="71"/>
                  </a:cubicBezTo>
                  <a:cubicBezTo>
                    <a:pt x="9" y="65"/>
                    <a:pt x="6" y="55"/>
                    <a:pt x="6" y="43"/>
                  </a:cubicBezTo>
                  <a:cubicBezTo>
                    <a:pt x="6" y="18"/>
                    <a:pt x="25" y="0"/>
                    <a:pt x="56" y="0"/>
                  </a:cubicBezTo>
                  <a:cubicBezTo>
                    <a:pt x="75" y="0"/>
                    <a:pt x="89" y="5"/>
                    <a:pt x="102" y="17"/>
                  </a:cubicBezTo>
                  <a:lnTo>
                    <a:pt x="84" y="34"/>
                  </a:lnTo>
                  <a:cubicBezTo>
                    <a:pt x="75" y="26"/>
                    <a:pt x="64" y="24"/>
                    <a:pt x="55" y="24"/>
                  </a:cubicBezTo>
                  <a:cubicBezTo>
                    <a:pt x="40" y="24"/>
                    <a:pt x="33" y="32"/>
                    <a:pt x="33" y="42"/>
                  </a:cubicBezTo>
                  <a:cubicBezTo>
                    <a:pt x="33" y="46"/>
                    <a:pt x="34" y="50"/>
                    <a:pt x="37" y="52"/>
                  </a:cubicBezTo>
                  <a:cubicBezTo>
                    <a:pt x="40" y="55"/>
                    <a:pt x="44" y="57"/>
                    <a:pt x="50" y="58"/>
                  </a:cubicBezTo>
                  <a:lnTo>
                    <a:pt x="67" y="60"/>
                  </a:lnTo>
                  <a:cubicBezTo>
                    <a:pt x="80" y="62"/>
                    <a:pt x="88" y="66"/>
                    <a:pt x="94" y="71"/>
                  </a:cubicBezTo>
                  <a:cubicBezTo>
                    <a:pt x="102" y="79"/>
                    <a:pt x="105" y="89"/>
                    <a:pt x="105" y="102"/>
                  </a:cubicBezTo>
                  <a:cubicBezTo>
                    <a:pt x="105" y="129"/>
                    <a:pt x="82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0" name="Freeform 54"/>
            <p:cNvSpPr>
              <a:spLocks noEditPoints="1"/>
            </p:cNvSpPr>
            <p:nvPr/>
          </p:nvSpPr>
          <p:spPr bwMode="auto">
            <a:xfrm>
              <a:off x="9024938" y="-495301"/>
              <a:ext cx="112713" cy="128588"/>
            </a:xfrm>
            <a:custGeom>
              <a:avLst/>
              <a:gdLst>
                <a:gd name="T0" fmla="*/ 97 w 126"/>
                <a:gd name="T1" fmla="*/ 143 h 143"/>
                <a:gd name="T2" fmla="*/ 97 w 126"/>
                <a:gd name="T3" fmla="*/ 143 h 143"/>
                <a:gd name="T4" fmla="*/ 89 w 126"/>
                <a:gd name="T5" fmla="*/ 117 h 143"/>
                <a:gd name="T6" fmla="*/ 38 w 126"/>
                <a:gd name="T7" fmla="*/ 117 h 143"/>
                <a:gd name="T8" fmla="*/ 29 w 126"/>
                <a:gd name="T9" fmla="*/ 143 h 143"/>
                <a:gd name="T10" fmla="*/ 0 w 126"/>
                <a:gd name="T11" fmla="*/ 143 h 143"/>
                <a:gd name="T12" fmla="*/ 52 w 126"/>
                <a:gd name="T13" fmla="*/ 0 h 143"/>
                <a:gd name="T14" fmla="*/ 74 w 126"/>
                <a:gd name="T15" fmla="*/ 0 h 143"/>
                <a:gd name="T16" fmla="*/ 126 w 126"/>
                <a:gd name="T17" fmla="*/ 143 h 143"/>
                <a:gd name="T18" fmla="*/ 97 w 126"/>
                <a:gd name="T19" fmla="*/ 143 h 143"/>
                <a:gd name="T20" fmla="*/ 64 w 126"/>
                <a:gd name="T21" fmla="*/ 42 h 143"/>
                <a:gd name="T22" fmla="*/ 64 w 126"/>
                <a:gd name="T23" fmla="*/ 42 h 143"/>
                <a:gd name="T24" fmla="*/ 46 w 126"/>
                <a:gd name="T25" fmla="*/ 94 h 143"/>
                <a:gd name="T26" fmla="*/ 81 w 126"/>
                <a:gd name="T27" fmla="*/ 94 h 143"/>
                <a:gd name="T28" fmla="*/ 64 w 126"/>
                <a:gd name="T29" fmla="*/ 4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6" h="143">
                  <a:moveTo>
                    <a:pt x="97" y="143"/>
                  </a:moveTo>
                  <a:lnTo>
                    <a:pt x="97" y="143"/>
                  </a:lnTo>
                  <a:lnTo>
                    <a:pt x="89" y="117"/>
                  </a:lnTo>
                  <a:lnTo>
                    <a:pt x="38" y="117"/>
                  </a:lnTo>
                  <a:lnTo>
                    <a:pt x="29" y="143"/>
                  </a:lnTo>
                  <a:lnTo>
                    <a:pt x="0" y="143"/>
                  </a:lnTo>
                  <a:lnTo>
                    <a:pt x="52" y="0"/>
                  </a:lnTo>
                  <a:lnTo>
                    <a:pt x="74" y="0"/>
                  </a:lnTo>
                  <a:lnTo>
                    <a:pt x="126" y="143"/>
                  </a:lnTo>
                  <a:lnTo>
                    <a:pt x="97" y="143"/>
                  </a:lnTo>
                  <a:close/>
                  <a:moveTo>
                    <a:pt x="64" y="42"/>
                  </a:moveTo>
                  <a:lnTo>
                    <a:pt x="64" y="42"/>
                  </a:lnTo>
                  <a:lnTo>
                    <a:pt x="46" y="94"/>
                  </a:lnTo>
                  <a:lnTo>
                    <a:pt x="81" y="94"/>
                  </a:lnTo>
                  <a:lnTo>
                    <a:pt x="64" y="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1" name="Freeform 55"/>
            <p:cNvSpPr>
              <a:spLocks/>
            </p:cNvSpPr>
            <p:nvPr/>
          </p:nvSpPr>
          <p:spPr bwMode="auto">
            <a:xfrm>
              <a:off x="9155113" y="-495301"/>
              <a:ext cx="82550" cy="128588"/>
            </a:xfrm>
            <a:custGeom>
              <a:avLst/>
              <a:gdLst>
                <a:gd name="T0" fmla="*/ 0 w 92"/>
                <a:gd name="T1" fmla="*/ 0 h 143"/>
                <a:gd name="T2" fmla="*/ 0 w 92"/>
                <a:gd name="T3" fmla="*/ 0 h 143"/>
                <a:gd name="T4" fmla="*/ 0 w 92"/>
                <a:gd name="T5" fmla="*/ 143 h 143"/>
                <a:gd name="T6" fmla="*/ 92 w 92"/>
                <a:gd name="T7" fmla="*/ 143 h 143"/>
                <a:gd name="T8" fmla="*/ 92 w 92"/>
                <a:gd name="T9" fmla="*/ 118 h 143"/>
                <a:gd name="T10" fmla="*/ 28 w 92"/>
                <a:gd name="T11" fmla="*/ 118 h 143"/>
                <a:gd name="T12" fmla="*/ 28 w 92"/>
                <a:gd name="T13" fmla="*/ 0 h 143"/>
                <a:gd name="T14" fmla="*/ 0 w 92"/>
                <a:gd name="T1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143">
                  <a:moveTo>
                    <a:pt x="0" y="0"/>
                  </a:moveTo>
                  <a:lnTo>
                    <a:pt x="0" y="0"/>
                  </a:lnTo>
                  <a:lnTo>
                    <a:pt x="0" y="143"/>
                  </a:lnTo>
                  <a:lnTo>
                    <a:pt x="92" y="143"/>
                  </a:lnTo>
                  <a:lnTo>
                    <a:pt x="92" y="118"/>
                  </a:lnTo>
                  <a:lnTo>
                    <a:pt x="28" y="118"/>
                  </a:lnTo>
                  <a:lnTo>
                    <a:pt x="2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67" name="text"/>
          <p:cNvSpPr/>
          <p:nvPr/>
        </p:nvSpPr>
        <p:spPr>
          <a:xfrm>
            <a:off x="188565" y="2201591"/>
            <a:ext cx="898593" cy="229902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45720" r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werage</a:t>
            </a:r>
          </a:p>
        </p:txBody>
      </p:sp>
      <p:sp>
        <p:nvSpPr>
          <p:cNvPr id="268" name="text"/>
          <p:cNvSpPr/>
          <p:nvPr/>
        </p:nvSpPr>
        <p:spPr>
          <a:xfrm>
            <a:off x="121706" y="3230463"/>
            <a:ext cx="1032310" cy="70442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45720" rIns="45720" rtlCol="0" anchor="ctr" anchorCtr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ecal Sludg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anagemen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on-sit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ystems</a:t>
            </a:r>
          </a:p>
        </p:txBody>
      </p:sp>
      <p:sp>
        <p:nvSpPr>
          <p:cNvPr id="134" name="Reuse/Disposal blue"/>
          <p:cNvSpPr/>
          <p:nvPr/>
        </p:nvSpPr>
        <p:spPr>
          <a:xfrm>
            <a:off x="7424878" y="1464751"/>
            <a:ext cx="1280160" cy="29260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36" name="Reuse/Disposal"/>
          <p:cNvGrpSpPr/>
          <p:nvPr/>
        </p:nvGrpSpPr>
        <p:grpSpPr>
          <a:xfrm>
            <a:off x="7479799" y="1628013"/>
            <a:ext cx="1170319" cy="125437"/>
            <a:chOff x="7800975" y="-508001"/>
            <a:chExt cx="1436688" cy="153988"/>
          </a:xfrm>
          <a:solidFill>
            <a:schemeClr val="accent3">
              <a:lumMod val="75000"/>
            </a:schemeClr>
          </a:solidFill>
        </p:grpSpPr>
        <p:sp>
          <p:nvSpPr>
            <p:cNvPr id="370" name="Freeform 42"/>
            <p:cNvSpPr>
              <a:spLocks noEditPoints="1"/>
            </p:cNvSpPr>
            <p:nvPr/>
          </p:nvSpPr>
          <p:spPr bwMode="auto">
            <a:xfrm>
              <a:off x="7800975" y="-495301"/>
              <a:ext cx="95250" cy="128588"/>
            </a:xfrm>
            <a:custGeom>
              <a:avLst/>
              <a:gdLst>
                <a:gd name="T0" fmla="*/ 76 w 108"/>
                <a:gd name="T1" fmla="*/ 143 h 143"/>
                <a:gd name="T2" fmla="*/ 76 w 108"/>
                <a:gd name="T3" fmla="*/ 143 h 143"/>
                <a:gd name="T4" fmla="*/ 48 w 108"/>
                <a:gd name="T5" fmla="*/ 86 h 143"/>
                <a:gd name="T6" fmla="*/ 28 w 108"/>
                <a:gd name="T7" fmla="*/ 86 h 143"/>
                <a:gd name="T8" fmla="*/ 28 w 108"/>
                <a:gd name="T9" fmla="*/ 143 h 143"/>
                <a:gd name="T10" fmla="*/ 0 w 108"/>
                <a:gd name="T11" fmla="*/ 143 h 143"/>
                <a:gd name="T12" fmla="*/ 0 w 108"/>
                <a:gd name="T13" fmla="*/ 0 h 143"/>
                <a:gd name="T14" fmla="*/ 56 w 108"/>
                <a:gd name="T15" fmla="*/ 0 h 143"/>
                <a:gd name="T16" fmla="*/ 102 w 108"/>
                <a:gd name="T17" fmla="*/ 44 h 143"/>
                <a:gd name="T18" fmla="*/ 76 w 108"/>
                <a:gd name="T19" fmla="*/ 81 h 143"/>
                <a:gd name="T20" fmla="*/ 108 w 108"/>
                <a:gd name="T21" fmla="*/ 143 h 143"/>
                <a:gd name="T22" fmla="*/ 76 w 108"/>
                <a:gd name="T23" fmla="*/ 143 h 143"/>
                <a:gd name="T24" fmla="*/ 54 w 108"/>
                <a:gd name="T25" fmla="*/ 25 h 143"/>
                <a:gd name="T26" fmla="*/ 54 w 108"/>
                <a:gd name="T27" fmla="*/ 25 h 143"/>
                <a:gd name="T28" fmla="*/ 28 w 108"/>
                <a:gd name="T29" fmla="*/ 25 h 143"/>
                <a:gd name="T30" fmla="*/ 28 w 108"/>
                <a:gd name="T31" fmla="*/ 63 h 143"/>
                <a:gd name="T32" fmla="*/ 54 w 108"/>
                <a:gd name="T33" fmla="*/ 63 h 143"/>
                <a:gd name="T34" fmla="*/ 74 w 108"/>
                <a:gd name="T35" fmla="*/ 44 h 143"/>
                <a:gd name="T36" fmla="*/ 54 w 108"/>
                <a:gd name="T37" fmla="*/ 2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8" h="143">
                  <a:moveTo>
                    <a:pt x="76" y="143"/>
                  </a:moveTo>
                  <a:lnTo>
                    <a:pt x="76" y="143"/>
                  </a:lnTo>
                  <a:lnTo>
                    <a:pt x="48" y="86"/>
                  </a:lnTo>
                  <a:lnTo>
                    <a:pt x="28" y="86"/>
                  </a:lnTo>
                  <a:lnTo>
                    <a:pt x="28" y="143"/>
                  </a:lnTo>
                  <a:lnTo>
                    <a:pt x="0" y="143"/>
                  </a:lnTo>
                  <a:lnTo>
                    <a:pt x="0" y="0"/>
                  </a:lnTo>
                  <a:lnTo>
                    <a:pt x="56" y="0"/>
                  </a:lnTo>
                  <a:cubicBezTo>
                    <a:pt x="85" y="0"/>
                    <a:pt x="102" y="20"/>
                    <a:pt x="102" y="44"/>
                  </a:cubicBezTo>
                  <a:cubicBezTo>
                    <a:pt x="102" y="64"/>
                    <a:pt x="90" y="76"/>
                    <a:pt x="76" y="81"/>
                  </a:cubicBezTo>
                  <a:lnTo>
                    <a:pt x="108" y="143"/>
                  </a:lnTo>
                  <a:lnTo>
                    <a:pt x="76" y="143"/>
                  </a:lnTo>
                  <a:close/>
                  <a:moveTo>
                    <a:pt x="54" y="25"/>
                  </a:moveTo>
                  <a:lnTo>
                    <a:pt x="54" y="25"/>
                  </a:lnTo>
                  <a:lnTo>
                    <a:pt x="28" y="25"/>
                  </a:lnTo>
                  <a:lnTo>
                    <a:pt x="28" y="63"/>
                  </a:lnTo>
                  <a:lnTo>
                    <a:pt x="54" y="63"/>
                  </a:lnTo>
                  <a:cubicBezTo>
                    <a:pt x="66" y="63"/>
                    <a:pt x="74" y="55"/>
                    <a:pt x="74" y="44"/>
                  </a:cubicBezTo>
                  <a:cubicBezTo>
                    <a:pt x="74" y="33"/>
                    <a:pt x="66" y="25"/>
                    <a:pt x="54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1" name="Freeform 43"/>
            <p:cNvSpPr>
              <a:spLocks/>
            </p:cNvSpPr>
            <p:nvPr/>
          </p:nvSpPr>
          <p:spPr bwMode="auto">
            <a:xfrm>
              <a:off x="7916863" y="-495301"/>
              <a:ext cx="84138" cy="128588"/>
            </a:xfrm>
            <a:custGeom>
              <a:avLst/>
              <a:gdLst>
                <a:gd name="T0" fmla="*/ 0 w 94"/>
                <a:gd name="T1" fmla="*/ 143 h 143"/>
                <a:gd name="T2" fmla="*/ 0 w 94"/>
                <a:gd name="T3" fmla="*/ 143 h 143"/>
                <a:gd name="T4" fmla="*/ 0 w 94"/>
                <a:gd name="T5" fmla="*/ 0 h 143"/>
                <a:gd name="T6" fmla="*/ 94 w 94"/>
                <a:gd name="T7" fmla="*/ 0 h 143"/>
                <a:gd name="T8" fmla="*/ 94 w 94"/>
                <a:gd name="T9" fmla="*/ 25 h 143"/>
                <a:gd name="T10" fmla="*/ 28 w 94"/>
                <a:gd name="T11" fmla="*/ 25 h 143"/>
                <a:gd name="T12" fmla="*/ 28 w 94"/>
                <a:gd name="T13" fmla="*/ 59 h 143"/>
                <a:gd name="T14" fmla="*/ 84 w 94"/>
                <a:gd name="T15" fmla="*/ 59 h 143"/>
                <a:gd name="T16" fmla="*/ 84 w 94"/>
                <a:gd name="T17" fmla="*/ 83 h 143"/>
                <a:gd name="T18" fmla="*/ 28 w 94"/>
                <a:gd name="T19" fmla="*/ 83 h 143"/>
                <a:gd name="T20" fmla="*/ 28 w 94"/>
                <a:gd name="T21" fmla="*/ 118 h 143"/>
                <a:gd name="T22" fmla="*/ 94 w 94"/>
                <a:gd name="T23" fmla="*/ 118 h 143"/>
                <a:gd name="T24" fmla="*/ 94 w 94"/>
                <a:gd name="T25" fmla="*/ 143 h 143"/>
                <a:gd name="T26" fmla="*/ 0 w 94"/>
                <a:gd name="T27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4" h="143">
                  <a:moveTo>
                    <a:pt x="0" y="143"/>
                  </a:moveTo>
                  <a:lnTo>
                    <a:pt x="0" y="14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25"/>
                  </a:lnTo>
                  <a:lnTo>
                    <a:pt x="28" y="25"/>
                  </a:lnTo>
                  <a:lnTo>
                    <a:pt x="28" y="59"/>
                  </a:lnTo>
                  <a:lnTo>
                    <a:pt x="84" y="59"/>
                  </a:lnTo>
                  <a:lnTo>
                    <a:pt x="84" y="83"/>
                  </a:lnTo>
                  <a:lnTo>
                    <a:pt x="28" y="83"/>
                  </a:lnTo>
                  <a:lnTo>
                    <a:pt x="28" y="118"/>
                  </a:lnTo>
                  <a:lnTo>
                    <a:pt x="94" y="118"/>
                  </a:lnTo>
                  <a:lnTo>
                    <a:pt x="94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2" name="Freeform 44"/>
            <p:cNvSpPr>
              <a:spLocks/>
            </p:cNvSpPr>
            <p:nvPr/>
          </p:nvSpPr>
          <p:spPr bwMode="auto">
            <a:xfrm>
              <a:off x="8021638" y="-495301"/>
              <a:ext cx="93663" cy="128588"/>
            </a:xfrm>
            <a:custGeom>
              <a:avLst/>
              <a:gdLst>
                <a:gd name="T0" fmla="*/ 53 w 105"/>
                <a:gd name="T1" fmla="*/ 144 h 144"/>
                <a:gd name="T2" fmla="*/ 53 w 105"/>
                <a:gd name="T3" fmla="*/ 144 h 144"/>
                <a:gd name="T4" fmla="*/ 0 w 105"/>
                <a:gd name="T5" fmla="*/ 94 h 144"/>
                <a:gd name="T6" fmla="*/ 0 w 105"/>
                <a:gd name="T7" fmla="*/ 0 h 144"/>
                <a:gd name="T8" fmla="*/ 28 w 105"/>
                <a:gd name="T9" fmla="*/ 0 h 144"/>
                <a:gd name="T10" fmla="*/ 28 w 105"/>
                <a:gd name="T11" fmla="*/ 93 h 144"/>
                <a:gd name="T12" fmla="*/ 53 w 105"/>
                <a:gd name="T13" fmla="*/ 119 h 144"/>
                <a:gd name="T14" fmla="*/ 77 w 105"/>
                <a:gd name="T15" fmla="*/ 93 h 144"/>
                <a:gd name="T16" fmla="*/ 77 w 105"/>
                <a:gd name="T17" fmla="*/ 0 h 144"/>
                <a:gd name="T18" fmla="*/ 105 w 105"/>
                <a:gd name="T19" fmla="*/ 0 h 144"/>
                <a:gd name="T20" fmla="*/ 105 w 105"/>
                <a:gd name="T21" fmla="*/ 94 h 144"/>
                <a:gd name="T22" fmla="*/ 53 w 105"/>
                <a:gd name="T2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5" h="144">
                  <a:moveTo>
                    <a:pt x="53" y="144"/>
                  </a:moveTo>
                  <a:lnTo>
                    <a:pt x="53" y="144"/>
                  </a:lnTo>
                  <a:cubicBezTo>
                    <a:pt x="23" y="144"/>
                    <a:pt x="0" y="124"/>
                    <a:pt x="0" y="94"/>
                  </a:cubicBezTo>
                  <a:lnTo>
                    <a:pt x="0" y="0"/>
                  </a:lnTo>
                  <a:lnTo>
                    <a:pt x="28" y="0"/>
                  </a:lnTo>
                  <a:lnTo>
                    <a:pt x="28" y="93"/>
                  </a:lnTo>
                  <a:cubicBezTo>
                    <a:pt x="28" y="109"/>
                    <a:pt x="38" y="119"/>
                    <a:pt x="53" y="119"/>
                  </a:cubicBezTo>
                  <a:cubicBezTo>
                    <a:pt x="68" y="119"/>
                    <a:pt x="77" y="109"/>
                    <a:pt x="77" y="93"/>
                  </a:cubicBezTo>
                  <a:lnTo>
                    <a:pt x="77" y="0"/>
                  </a:lnTo>
                  <a:lnTo>
                    <a:pt x="105" y="0"/>
                  </a:lnTo>
                  <a:lnTo>
                    <a:pt x="105" y="94"/>
                  </a:lnTo>
                  <a:cubicBezTo>
                    <a:pt x="105" y="124"/>
                    <a:pt x="82" y="144"/>
                    <a:pt x="53" y="1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3" name="Freeform 45"/>
            <p:cNvSpPr>
              <a:spLocks/>
            </p:cNvSpPr>
            <p:nvPr/>
          </p:nvSpPr>
          <p:spPr bwMode="auto">
            <a:xfrm>
              <a:off x="8131175" y="-496888"/>
              <a:ext cx="92075" cy="130175"/>
            </a:xfrm>
            <a:custGeom>
              <a:avLst/>
              <a:gdLst>
                <a:gd name="T0" fmla="*/ 52 w 104"/>
                <a:gd name="T1" fmla="*/ 145 h 145"/>
                <a:gd name="T2" fmla="*/ 52 w 104"/>
                <a:gd name="T3" fmla="*/ 145 h 145"/>
                <a:gd name="T4" fmla="*/ 0 w 104"/>
                <a:gd name="T5" fmla="*/ 126 h 145"/>
                <a:gd name="T6" fmla="*/ 18 w 104"/>
                <a:gd name="T7" fmla="*/ 108 h 145"/>
                <a:gd name="T8" fmla="*/ 52 w 104"/>
                <a:gd name="T9" fmla="*/ 120 h 145"/>
                <a:gd name="T10" fmla="*/ 77 w 104"/>
                <a:gd name="T11" fmla="*/ 102 h 145"/>
                <a:gd name="T12" fmla="*/ 73 w 104"/>
                <a:gd name="T13" fmla="*/ 90 h 145"/>
                <a:gd name="T14" fmla="*/ 60 w 104"/>
                <a:gd name="T15" fmla="*/ 85 h 145"/>
                <a:gd name="T16" fmla="*/ 43 w 104"/>
                <a:gd name="T17" fmla="*/ 83 h 145"/>
                <a:gd name="T18" fmla="*/ 15 w 104"/>
                <a:gd name="T19" fmla="*/ 71 h 145"/>
                <a:gd name="T20" fmla="*/ 5 w 104"/>
                <a:gd name="T21" fmla="*/ 43 h 145"/>
                <a:gd name="T22" fmla="*/ 55 w 104"/>
                <a:gd name="T23" fmla="*/ 0 h 145"/>
                <a:gd name="T24" fmla="*/ 101 w 104"/>
                <a:gd name="T25" fmla="*/ 17 h 145"/>
                <a:gd name="T26" fmla="*/ 83 w 104"/>
                <a:gd name="T27" fmla="*/ 34 h 145"/>
                <a:gd name="T28" fmla="*/ 54 w 104"/>
                <a:gd name="T29" fmla="*/ 24 h 145"/>
                <a:gd name="T30" fmla="*/ 32 w 104"/>
                <a:gd name="T31" fmla="*/ 42 h 145"/>
                <a:gd name="T32" fmla="*/ 36 w 104"/>
                <a:gd name="T33" fmla="*/ 52 h 145"/>
                <a:gd name="T34" fmla="*/ 49 w 104"/>
                <a:gd name="T35" fmla="*/ 58 h 145"/>
                <a:gd name="T36" fmla="*/ 66 w 104"/>
                <a:gd name="T37" fmla="*/ 60 h 145"/>
                <a:gd name="T38" fmla="*/ 93 w 104"/>
                <a:gd name="T39" fmla="*/ 71 h 145"/>
                <a:gd name="T40" fmla="*/ 104 w 104"/>
                <a:gd name="T41" fmla="*/ 102 h 145"/>
                <a:gd name="T42" fmla="*/ 52 w 104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4" h="145">
                  <a:moveTo>
                    <a:pt x="52" y="145"/>
                  </a:moveTo>
                  <a:lnTo>
                    <a:pt x="52" y="145"/>
                  </a:lnTo>
                  <a:cubicBezTo>
                    <a:pt x="30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39" y="120"/>
                    <a:pt x="52" y="120"/>
                  </a:cubicBezTo>
                  <a:cubicBezTo>
                    <a:pt x="68" y="120"/>
                    <a:pt x="77" y="114"/>
                    <a:pt x="77" y="102"/>
                  </a:cubicBezTo>
                  <a:cubicBezTo>
                    <a:pt x="77" y="97"/>
                    <a:pt x="76" y="93"/>
                    <a:pt x="73" y="90"/>
                  </a:cubicBezTo>
                  <a:cubicBezTo>
                    <a:pt x="70" y="88"/>
                    <a:pt x="67" y="86"/>
                    <a:pt x="60" y="85"/>
                  </a:cubicBezTo>
                  <a:lnTo>
                    <a:pt x="43" y="83"/>
                  </a:lnTo>
                  <a:cubicBezTo>
                    <a:pt x="31" y="81"/>
                    <a:pt x="22" y="77"/>
                    <a:pt x="15" y="71"/>
                  </a:cubicBezTo>
                  <a:cubicBezTo>
                    <a:pt x="9" y="65"/>
                    <a:pt x="5" y="55"/>
                    <a:pt x="5" y="43"/>
                  </a:cubicBezTo>
                  <a:cubicBezTo>
                    <a:pt x="5" y="18"/>
                    <a:pt x="24" y="0"/>
                    <a:pt x="55" y="0"/>
                  </a:cubicBezTo>
                  <a:cubicBezTo>
                    <a:pt x="74" y="0"/>
                    <a:pt x="89" y="5"/>
                    <a:pt x="101" y="17"/>
                  </a:cubicBezTo>
                  <a:lnTo>
                    <a:pt x="83" y="34"/>
                  </a:lnTo>
                  <a:cubicBezTo>
                    <a:pt x="74" y="26"/>
                    <a:pt x="63" y="24"/>
                    <a:pt x="54" y="24"/>
                  </a:cubicBezTo>
                  <a:cubicBezTo>
                    <a:pt x="39" y="24"/>
                    <a:pt x="32" y="32"/>
                    <a:pt x="32" y="42"/>
                  </a:cubicBezTo>
                  <a:cubicBezTo>
                    <a:pt x="32" y="46"/>
                    <a:pt x="33" y="50"/>
                    <a:pt x="36" y="52"/>
                  </a:cubicBezTo>
                  <a:cubicBezTo>
                    <a:pt x="39" y="55"/>
                    <a:pt x="44" y="57"/>
                    <a:pt x="49" y="58"/>
                  </a:cubicBezTo>
                  <a:lnTo>
                    <a:pt x="66" y="60"/>
                  </a:lnTo>
                  <a:cubicBezTo>
                    <a:pt x="79" y="62"/>
                    <a:pt x="87" y="66"/>
                    <a:pt x="93" y="71"/>
                  </a:cubicBezTo>
                  <a:cubicBezTo>
                    <a:pt x="101" y="79"/>
                    <a:pt x="104" y="89"/>
                    <a:pt x="104" y="102"/>
                  </a:cubicBezTo>
                  <a:cubicBezTo>
                    <a:pt x="104" y="129"/>
                    <a:pt x="81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4" name="Freeform 46"/>
            <p:cNvSpPr>
              <a:spLocks/>
            </p:cNvSpPr>
            <p:nvPr/>
          </p:nvSpPr>
          <p:spPr bwMode="auto">
            <a:xfrm>
              <a:off x="8245475" y="-495301"/>
              <a:ext cx="84138" cy="128588"/>
            </a:xfrm>
            <a:custGeom>
              <a:avLst/>
              <a:gdLst>
                <a:gd name="T0" fmla="*/ 0 w 93"/>
                <a:gd name="T1" fmla="*/ 143 h 143"/>
                <a:gd name="T2" fmla="*/ 0 w 93"/>
                <a:gd name="T3" fmla="*/ 143 h 143"/>
                <a:gd name="T4" fmla="*/ 0 w 93"/>
                <a:gd name="T5" fmla="*/ 0 h 143"/>
                <a:gd name="T6" fmla="*/ 93 w 93"/>
                <a:gd name="T7" fmla="*/ 0 h 143"/>
                <a:gd name="T8" fmla="*/ 93 w 93"/>
                <a:gd name="T9" fmla="*/ 25 h 143"/>
                <a:gd name="T10" fmla="*/ 27 w 93"/>
                <a:gd name="T11" fmla="*/ 25 h 143"/>
                <a:gd name="T12" fmla="*/ 27 w 93"/>
                <a:gd name="T13" fmla="*/ 59 h 143"/>
                <a:gd name="T14" fmla="*/ 84 w 93"/>
                <a:gd name="T15" fmla="*/ 59 h 143"/>
                <a:gd name="T16" fmla="*/ 84 w 93"/>
                <a:gd name="T17" fmla="*/ 83 h 143"/>
                <a:gd name="T18" fmla="*/ 27 w 93"/>
                <a:gd name="T19" fmla="*/ 83 h 143"/>
                <a:gd name="T20" fmla="*/ 27 w 93"/>
                <a:gd name="T21" fmla="*/ 118 h 143"/>
                <a:gd name="T22" fmla="*/ 93 w 93"/>
                <a:gd name="T23" fmla="*/ 118 h 143"/>
                <a:gd name="T24" fmla="*/ 93 w 93"/>
                <a:gd name="T25" fmla="*/ 143 h 143"/>
                <a:gd name="T26" fmla="*/ 0 w 93"/>
                <a:gd name="T27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3" h="143">
                  <a:moveTo>
                    <a:pt x="0" y="143"/>
                  </a:moveTo>
                  <a:lnTo>
                    <a:pt x="0" y="143"/>
                  </a:lnTo>
                  <a:lnTo>
                    <a:pt x="0" y="0"/>
                  </a:lnTo>
                  <a:lnTo>
                    <a:pt x="93" y="0"/>
                  </a:lnTo>
                  <a:lnTo>
                    <a:pt x="93" y="25"/>
                  </a:lnTo>
                  <a:lnTo>
                    <a:pt x="27" y="25"/>
                  </a:lnTo>
                  <a:lnTo>
                    <a:pt x="27" y="59"/>
                  </a:lnTo>
                  <a:lnTo>
                    <a:pt x="84" y="59"/>
                  </a:lnTo>
                  <a:lnTo>
                    <a:pt x="84" y="83"/>
                  </a:lnTo>
                  <a:lnTo>
                    <a:pt x="27" y="83"/>
                  </a:lnTo>
                  <a:lnTo>
                    <a:pt x="27" y="118"/>
                  </a:lnTo>
                  <a:lnTo>
                    <a:pt x="93" y="118"/>
                  </a:lnTo>
                  <a:lnTo>
                    <a:pt x="93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5" name="Freeform 47"/>
            <p:cNvSpPr>
              <a:spLocks/>
            </p:cNvSpPr>
            <p:nvPr/>
          </p:nvSpPr>
          <p:spPr bwMode="auto">
            <a:xfrm>
              <a:off x="8342313" y="-508001"/>
              <a:ext cx="71438" cy="153988"/>
            </a:xfrm>
            <a:custGeom>
              <a:avLst/>
              <a:gdLst>
                <a:gd name="T0" fmla="*/ 57 w 81"/>
                <a:gd name="T1" fmla="*/ 0 h 172"/>
                <a:gd name="T2" fmla="*/ 57 w 81"/>
                <a:gd name="T3" fmla="*/ 0 h 172"/>
                <a:gd name="T4" fmla="*/ 0 w 81"/>
                <a:gd name="T5" fmla="*/ 172 h 172"/>
                <a:gd name="T6" fmla="*/ 24 w 81"/>
                <a:gd name="T7" fmla="*/ 172 h 172"/>
                <a:gd name="T8" fmla="*/ 81 w 81"/>
                <a:gd name="T9" fmla="*/ 0 h 172"/>
                <a:gd name="T10" fmla="*/ 57 w 81"/>
                <a:gd name="T11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172">
                  <a:moveTo>
                    <a:pt x="57" y="0"/>
                  </a:moveTo>
                  <a:lnTo>
                    <a:pt x="57" y="0"/>
                  </a:lnTo>
                  <a:lnTo>
                    <a:pt x="0" y="172"/>
                  </a:lnTo>
                  <a:lnTo>
                    <a:pt x="24" y="172"/>
                  </a:lnTo>
                  <a:lnTo>
                    <a:pt x="81" y="0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6" name="Freeform 48"/>
            <p:cNvSpPr>
              <a:spLocks noEditPoints="1"/>
            </p:cNvSpPr>
            <p:nvPr/>
          </p:nvSpPr>
          <p:spPr bwMode="auto">
            <a:xfrm>
              <a:off x="8429625" y="-495301"/>
              <a:ext cx="93663" cy="128588"/>
            </a:xfrm>
            <a:custGeom>
              <a:avLst/>
              <a:gdLst>
                <a:gd name="T0" fmla="*/ 89 w 105"/>
                <a:gd name="T1" fmla="*/ 129 h 143"/>
                <a:gd name="T2" fmla="*/ 89 w 105"/>
                <a:gd name="T3" fmla="*/ 129 h 143"/>
                <a:gd name="T4" fmla="*/ 51 w 105"/>
                <a:gd name="T5" fmla="*/ 143 h 143"/>
                <a:gd name="T6" fmla="*/ 0 w 105"/>
                <a:gd name="T7" fmla="*/ 143 h 143"/>
                <a:gd name="T8" fmla="*/ 0 w 105"/>
                <a:gd name="T9" fmla="*/ 0 h 143"/>
                <a:gd name="T10" fmla="*/ 51 w 105"/>
                <a:gd name="T11" fmla="*/ 0 h 143"/>
                <a:gd name="T12" fmla="*/ 89 w 105"/>
                <a:gd name="T13" fmla="*/ 14 h 143"/>
                <a:gd name="T14" fmla="*/ 103 w 105"/>
                <a:gd name="T15" fmla="*/ 71 h 143"/>
                <a:gd name="T16" fmla="*/ 89 w 105"/>
                <a:gd name="T17" fmla="*/ 129 h 143"/>
                <a:gd name="T18" fmla="*/ 69 w 105"/>
                <a:gd name="T19" fmla="*/ 34 h 143"/>
                <a:gd name="T20" fmla="*/ 69 w 105"/>
                <a:gd name="T21" fmla="*/ 34 h 143"/>
                <a:gd name="T22" fmla="*/ 48 w 105"/>
                <a:gd name="T23" fmla="*/ 25 h 143"/>
                <a:gd name="T24" fmla="*/ 27 w 105"/>
                <a:gd name="T25" fmla="*/ 25 h 143"/>
                <a:gd name="T26" fmla="*/ 27 w 105"/>
                <a:gd name="T27" fmla="*/ 118 h 143"/>
                <a:gd name="T28" fmla="*/ 48 w 105"/>
                <a:gd name="T29" fmla="*/ 118 h 143"/>
                <a:gd name="T30" fmla="*/ 69 w 105"/>
                <a:gd name="T31" fmla="*/ 109 h 143"/>
                <a:gd name="T32" fmla="*/ 75 w 105"/>
                <a:gd name="T33" fmla="*/ 71 h 143"/>
                <a:gd name="T34" fmla="*/ 69 w 105"/>
                <a:gd name="T35" fmla="*/ 3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" h="143">
                  <a:moveTo>
                    <a:pt x="89" y="129"/>
                  </a:moveTo>
                  <a:lnTo>
                    <a:pt x="89" y="129"/>
                  </a:lnTo>
                  <a:cubicBezTo>
                    <a:pt x="79" y="138"/>
                    <a:pt x="66" y="143"/>
                    <a:pt x="51" y="143"/>
                  </a:cubicBezTo>
                  <a:lnTo>
                    <a:pt x="0" y="143"/>
                  </a:lnTo>
                  <a:lnTo>
                    <a:pt x="0" y="0"/>
                  </a:lnTo>
                  <a:lnTo>
                    <a:pt x="51" y="0"/>
                  </a:lnTo>
                  <a:cubicBezTo>
                    <a:pt x="66" y="0"/>
                    <a:pt x="79" y="5"/>
                    <a:pt x="89" y="14"/>
                  </a:cubicBezTo>
                  <a:cubicBezTo>
                    <a:pt x="105" y="30"/>
                    <a:pt x="103" y="50"/>
                    <a:pt x="103" y="71"/>
                  </a:cubicBezTo>
                  <a:cubicBezTo>
                    <a:pt x="103" y="92"/>
                    <a:pt x="105" y="113"/>
                    <a:pt x="89" y="129"/>
                  </a:cubicBezTo>
                  <a:close/>
                  <a:moveTo>
                    <a:pt x="69" y="34"/>
                  </a:moveTo>
                  <a:lnTo>
                    <a:pt x="69" y="34"/>
                  </a:lnTo>
                  <a:cubicBezTo>
                    <a:pt x="64" y="28"/>
                    <a:pt x="58" y="25"/>
                    <a:pt x="48" y="25"/>
                  </a:cubicBezTo>
                  <a:lnTo>
                    <a:pt x="27" y="25"/>
                  </a:lnTo>
                  <a:lnTo>
                    <a:pt x="27" y="118"/>
                  </a:lnTo>
                  <a:lnTo>
                    <a:pt x="48" y="118"/>
                  </a:lnTo>
                  <a:cubicBezTo>
                    <a:pt x="58" y="118"/>
                    <a:pt x="64" y="115"/>
                    <a:pt x="69" y="109"/>
                  </a:cubicBezTo>
                  <a:cubicBezTo>
                    <a:pt x="74" y="103"/>
                    <a:pt x="75" y="93"/>
                    <a:pt x="75" y="71"/>
                  </a:cubicBezTo>
                  <a:cubicBezTo>
                    <a:pt x="75" y="49"/>
                    <a:pt x="74" y="40"/>
                    <a:pt x="69" y="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7" name="Freeform 49"/>
            <p:cNvSpPr>
              <a:spLocks/>
            </p:cNvSpPr>
            <p:nvPr/>
          </p:nvSpPr>
          <p:spPr bwMode="auto">
            <a:xfrm>
              <a:off x="8545513" y="-495301"/>
              <a:ext cx="25400" cy="128588"/>
            </a:xfrm>
            <a:custGeom>
              <a:avLst/>
              <a:gdLst>
                <a:gd name="T0" fmla="*/ 0 w 27"/>
                <a:gd name="T1" fmla="*/ 0 h 143"/>
                <a:gd name="T2" fmla="*/ 0 w 27"/>
                <a:gd name="T3" fmla="*/ 0 h 143"/>
                <a:gd name="T4" fmla="*/ 27 w 27"/>
                <a:gd name="T5" fmla="*/ 0 h 143"/>
                <a:gd name="T6" fmla="*/ 27 w 27"/>
                <a:gd name="T7" fmla="*/ 143 h 143"/>
                <a:gd name="T8" fmla="*/ 0 w 27"/>
                <a:gd name="T9" fmla="*/ 143 h 143"/>
                <a:gd name="T10" fmla="*/ 0 w 27"/>
                <a:gd name="T11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143">
                  <a:moveTo>
                    <a:pt x="0" y="0"/>
                  </a:moveTo>
                  <a:lnTo>
                    <a:pt x="0" y="0"/>
                  </a:lnTo>
                  <a:lnTo>
                    <a:pt x="27" y="0"/>
                  </a:lnTo>
                  <a:lnTo>
                    <a:pt x="27" y="143"/>
                  </a:lnTo>
                  <a:lnTo>
                    <a:pt x="0" y="14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8" name="Freeform 50"/>
            <p:cNvSpPr>
              <a:spLocks/>
            </p:cNvSpPr>
            <p:nvPr/>
          </p:nvSpPr>
          <p:spPr bwMode="auto">
            <a:xfrm>
              <a:off x="8589963" y="-496888"/>
              <a:ext cx="92075" cy="130175"/>
            </a:xfrm>
            <a:custGeom>
              <a:avLst/>
              <a:gdLst>
                <a:gd name="T0" fmla="*/ 52 w 104"/>
                <a:gd name="T1" fmla="*/ 145 h 145"/>
                <a:gd name="T2" fmla="*/ 52 w 104"/>
                <a:gd name="T3" fmla="*/ 145 h 145"/>
                <a:gd name="T4" fmla="*/ 0 w 104"/>
                <a:gd name="T5" fmla="*/ 126 h 145"/>
                <a:gd name="T6" fmla="*/ 18 w 104"/>
                <a:gd name="T7" fmla="*/ 108 h 145"/>
                <a:gd name="T8" fmla="*/ 52 w 104"/>
                <a:gd name="T9" fmla="*/ 120 h 145"/>
                <a:gd name="T10" fmla="*/ 77 w 104"/>
                <a:gd name="T11" fmla="*/ 102 h 145"/>
                <a:gd name="T12" fmla="*/ 73 w 104"/>
                <a:gd name="T13" fmla="*/ 90 h 145"/>
                <a:gd name="T14" fmla="*/ 60 w 104"/>
                <a:gd name="T15" fmla="*/ 85 h 145"/>
                <a:gd name="T16" fmla="*/ 43 w 104"/>
                <a:gd name="T17" fmla="*/ 83 h 145"/>
                <a:gd name="T18" fmla="*/ 15 w 104"/>
                <a:gd name="T19" fmla="*/ 71 h 145"/>
                <a:gd name="T20" fmla="*/ 5 w 104"/>
                <a:gd name="T21" fmla="*/ 43 h 145"/>
                <a:gd name="T22" fmla="*/ 55 w 104"/>
                <a:gd name="T23" fmla="*/ 0 h 145"/>
                <a:gd name="T24" fmla="*/ 101 w 104"/>
                <a:gd name="T25" fmla="*/ 17 h 145"/>
                <a:gd name="T26" fmla="*/ 83 w 104"/>
                <a:gd name="T27" fmla="*/ 34 h 145"/>
                <a:gd name="T28" fmla="*/ 54 w 104"/>
                <a:gd name="T29" fmla="*/ 24 h 145"/>
                <a:gd name="T30" fmla="*/ 32 w 104"/>
                <a:gd name="T31" fmla="*/ 42 h 145"/>
                <a:gd name="T32" fmla="*/ 36 w 104"/>
                <a:gd name="T33" fmla="*/ 52 h 145"/>
                <a:gd name="T34" fmla="*/ 49 w 104"/>
                <a:gd name="T35" fmla="*/ 58 h 145"/>
                <a:gd name="T36" fmla="*/ 66 w 104"/>
                <a:gd name="T37" fmla="*/ 60 h 145"/>
                <a:gd name="T38" fmla="*/ 93 w 104"/>
                <a:gd name="T39" fmla="*/ 71 h 145"/>
                <a:gd name="T40" fmla="*/ 104 w 104"/>
                <a:gd name="T41" fmla="*/ 102 h 145"/>
                <a:gd name="T42" fmla="*/ 52 w 104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4" h="145">
                  <a:moveTo>
                    <a:pt x="52" y="145"/>
                  </a:moveTo>
                  <a:lnTo>
                    <a:pt x="52" y="145"/>
                  </a:lnTo>
                  <a:cubicBezTo>
                    <a:pt x="30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39" y="120"/>
                    <a:pt x="52" y="120"/>
                  </a:cubicBezTo>
                  <a:cubicBezTo>
                    <a:pt x="68" y="120"/>
                    <a:pt x="77" y="114"/>
                    <a:pt x="77" y="102"/>
                  </a:cubicBezTo>
                  <a:cubicBezTo>
                    <a:pt x="77" y="97"/>
                    <a:pt x="76" y="93"/>
                    <a:pt x="73" y="90"/>
                  </a:cubicBezTo>
                  <a:cubicBezTo>
                    <a:pt x="70" y="88"/>
                    <a:pt x="67" y="86"/>
                    <a:pt x="60" y="85"/>
                  </a:cubicBezTo>
                  <a:lnTo>
                    <a:pt x="43" y="83"/>
                  </a:lnTo>
                  <a:cubicBezTo>
                    <a:pt x="31" y="81"/>
                    <a:pt x="22" y="77"/>
                    <a:pt x="15" y="71"/>
                  </a:cubicBezTo>
                  <a:cubicBezTo>
                    <a:pt x="9" y="65"/>
                    <a:pt x="5" y="55"/>
                    <a:pt x="5" y="43"/>
                  </a:cubicBezTo>
                  <a:cubicBezTo>
                    <a:pt x="5" y="18"/>
                    <a:pt x="24" y="0"/>
                    <a:pt x="55" y="0"/>
                  </a:cubicBezTo>
                  <a:cubicBezTo>
                    <a:pt x="74" y="0"/>
                    <a:pt x="89" y="5"/>
                    <a:pt x="101" y="17"/>
                  </a:cubicBezTo>
                  <a:lnTo>
                    <a:pt x="83" y="34"/>
                  </a:lnTo>
                  <a:cubicBezTo>
                    <a:pt x="74" y="26"/>
                    <a:pt x="63" y="24"/>
                    <a:pt x="54" y="24"/>
                  </a:cubicBezTo>
                  <a:cubicBezTo>
                    <a:pt x="39" y="24"/>
                    <a:pt x="32" y="32"/>
                    <a:pt x="32" y="42"/>
                  </a:cubicBezTo>
                  <a:cubicBezTo>
                    <a:pt x="32" y="46"/>
                    <a:pt x="33" y="50"/>
                    <a:pt x="36" y="52"/>
                  </a:cubicBezTo>
                  <a:cubicBezTo>
                    <a:pt x="39" y="55"/>
                    <a:pt x="44" y="57"/>
                    <a:pt x="49" y="58"/>
                  </a:cubicBezTo>
                  <a:lnTo>
                    <a:pt x="66" y="60"/>
                  </a:lnTo>
                  <a:cubicBezTo>
                    <a:pt x="79" y="62"/>
                    <a:pt x="87" y="66"/>
                    <a:pt x="93" y="71"/>
                  </a:cubicBezTo>
                  <a:cubicBezTo>
                    <a:pt x="101" y="79"/>
                    <a:pt x="104" y="89"/>
                    <a:pt x="104" y="102"/>
                  </a:cubicBezTo>
                  <a:cubicBezTo>
                    <a:pt x="104" y="129"/>
                    <a:pt x="81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9" name="Freeform 51"/>
            <p:cNvSpPr>
              <a:spLocks noEditPoints="1"/>
            </p:cNvSpPr>
            <p:nvPr/>
          </p:nvSpPr>
          <p:spPr bwMode="auto">
            <a:xfrm>
              <a:off x="8704263" y="-495301"/>
              <a:ext cx="92075" cy="128588"/>
            </a:xfrm>
            <a:custGeom>
              <a:avLst/>
              <a:gdLst>
                <a:gd name="T0" fmla="*/ 55 w 102"/>
                <a:gd name="T1" fmla="*/ 89 h 143"/>
                <a:gd name="T2" fmla="*/ 55 w 102"/>
                <a:gd name="T3" fmla="*/ 89 h 143"/>
                <a:gd name="T4" fmla="*/ 27 w 102"/>
                <a:gd name="T5" fmla="*/ 89 h 143"/>
                <a:gd name="T6" fmla="*/ 27 w 102"/>
                <a:gd name="T7" fmla="*/ 143 h 143"/>
                <a:gd name="T8" fmla="*/ 0 w 102"/>
                <a:gd name="T9" fmla="*/ 143 h 143"/>
                <a:gd name="T10" fmla="*/ 0 w 102"/>
                <a:gd name="T11" fmla="*/ 0 h 143"/>
                <a:gd name="T12" fmla="*/ 55 w 102"/>
                <a:gd name="T13" fmla="*/ 0 h 143"/>
                <a:gd name="T14" fmla="*/ 102 w 102"/>
                <a:gd name="T15" fmla="*/ 45 h 143"/>
                <a:gd name="T16" fmla="*/ 55 w 102"/>
                <a:gd name="T17" fmla="*/ 89 h 143"/>
                <a:gd name="T18" fmla="*/ 53 w 102"/>
                <a:gd name="T19" fmla="*/ 25 h 143"/>
                <a:gd name="T20" fmla="*/ 53 w 102"/>
                <a:gd name="T21" fmla="*/ 25 h 143"/>
                <a:gd name="T22" fmla="*/ 27 w 102"/>
                <a:gd name="T23" fmla="*/ 25 h 143"/>
                <a:gd name="T24" fmla="*/ 27 w 102"/>
                <a:gd name="T25" fmla="*/ 64 h 143"/>
                <a:gd name="T26" fmla="*/ 53 w 102"/>
                <a:gd name="T27" fmla="*/ 64 h 143"/>
                <a:gd name="T28" fmla="*/ 74 w 102"/>
                <a:gd name="T29" fmla="*/ 45 h 143"/>
                <a:gd name="T30" fmla="*/ 53 w 102"/>
                <a:gd name="T31" fmla="*/ 2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2" h="143">
                  <a:moveTo>
                    <a:pt x="55" y="89"/>
                  </a:moveTo>
                  <a:lnTo>
                    <a:pt x="55" y="89"/>
                  </a:lnTo>
                  <a:lnTo>
                    <a:pt x="27" y="89"/>
                  </a:lnTo>
                  <a:lnTo>
                    <a:pt x="27" y="143"/>
                  </a:lnTo>
                  <a:lnTo>
                    <a:pt x="0" y="143"/>
                  </a:lnTo>
                  <a:lnTo>
                    <a:pt x="0" y="0"/>
                  </a:lnTo>
                  <a:lnTo>
                    <a:pt x="55" y="0"/>
                  </a:lnTo>
                  <a:cubicBezTo>
                    <a:pt x="84" y="0"/>
                    <a:pt x="102" y="20"/>
                    <a:pt x="102" y="45"/>
                  </a:cubicBezTo>
                  <a:cubicBezTo>
                    <a:pt x="102" y="69"/>
                    <a:pt x="84" y="89"/>
                    <a:pt x="55" y="89"/>
                  </a:cubicBezTo>
                  <a:close/>
                  <a:moveTo>
                    <a:pt x="53" y="25"/>
                  </a:moveTo>
                  <a:lnTo>
                    <a:pt x="53" y="25"/>
                  </a:lnTo>
                  <a:lnTo>
                    <a:pt x="27" y="25"/>
                  </a:lnTo>
                  <a:lnTo>
                    <a:pt x="27" y="64"/>
                  </a:lnTo>
                  <a:lnTo>
                    <a:pt x="53" y="64"/>
                  </a:lnTo>
                  <a:cubicBezTo>
                    <a:pt x="66" y="64"/>
                    <a:pt x="74" y="56"/>
                    <a:pt x="74" y="45"/>
                  </a:cubicBezTo>
                  <a:cubicBezTo>
                    <a:pt x="74" y="33"/>
                    <a:pt x="66" y="25"/>
                    <a:pt x="53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0" name="Freeform 52"/>
            <p:cNvSpPr>
              <a:spLocks noEditPoints="1"/>
            </p:cNvSpPr>
            <p:nvPr/>
          </p:nvSpPr>
          <p:spPr bwMode="auto">
            <a:xfrm>
              <a:off x="8813800" y="-496888"/>
              <a:ext cx="93663" cy="130175"/>
            </a:xfrm>
            <a:custGeom>
              <a:avLst/>
              <a:gdLst>
                <a:gd name="T0" fmla="*/ 91 w 106"/>
                <a:gd name="T1" fmla="*/ 129 h 145"/>
                <a:gd name="T2" fmla="*/ 91 w 106"/>
                <a:gd name="T3" fmla="*/ 129 h 145"/>
                <a:gd name="T4" fmla="*/ 53 w 106"/>
                <a:gd name="T5" fmla="*/ 145 h 145"/>
                <a:gd name="T6" fmla="*/ 14 w 106"/>
                <a:gd name="T7" fmla="*/ 129 h 145"/>
                <a:gd name="T8" fmla="*/ 0 w 106"/>
                <a:gd name="T9" fmla="*/ 72 h 145"/>
                <a:gd name="T10" fmla="*/ 14 w 106"/>
                <a:gd name="T11" fmla="*/ 16 h 145"/>
                <a:gd name="T12" fmla="*/ 53 w 106"/>
                <a:gd name="T13" fmla="*/ 0 h 145"/>
                <a:gd name="T14" fmla="*/ 91 w 106"/>
                <a:gd name="T15" fmla="*/ 16 h 145"/>
                <a:gd name="T16" fmla="*/ 105 w 106"/>
                <a:gd name="T17" fmla="*/ 72 h 145"/>
                <a:gd name="T18" fmla="*/ 91 w 106"/>
                <a:gd name="T19" fmla="*/ 129 h 145"/>
                <a:gd name="T20" fmla="*/ 71 w 106"/>
                <a:gd name="T21" fmla="*/ 32 h 145"/>
                <a:gd name="T22" fmla="*/ 71 w 106"/>
                <a:gd name="T23" fmla="*/ 32 h 145"/>
                <a:gd name="T24" fmla="*/ 53 w 106"/>
                <a:gd name="T25" fmla="*/ 25 h 145"/>
                <a:gd name="T26" fmla="*/ 35 w 106"/>
                <a:gd name="T27" fmla="*/ 32 h 145"/>
                <a:gd name="T28" fmla="*/ 28 w 106"/>
                <a:gd name="T29" fmla="*/ 72 h 145"/>
                <a:gd name="T30" fmla="*/ 35 w 106"/>
                <a:gd name="T31" fmla="*/ 112 h 145"/>
                <a:gd name="T32" fmla="*/ 53 w 106"/>
                <a:gd name="T33" fmla="*/ 120 h 145"/>
                <a:gd name="T34" fmla="*/ 71 w 106"/>
                <a:gd name="T35" fmla="*/ 112 h 145"/>
                <a:gd name="T36" fmla="*/ 78 w 106"/>
                <a:gd name="T37" fmla="*/ 72 h 145"/>
                <a:gd name="T38" fmla="*/ 71 w 106"/>
                <a:gd name="T39" fmla="*/ 32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6" h="145">
                  <a:moveTo>
                    <a:pt x="91" y="129"/>
                  </a:moveTo>
                  <a:lnTo>
                    <a:pt x="91" y="129"/>
                  </a:lnTo>
                  <a:cubicBezTo>
                    <a:pt x="81" y="139"/>
                    <a:pt x="69" y="145"/>
                    <a:pt x="53" y="145"/>
                  </a:cubicBezTo>
                  <a:cubicBezTo>
                    <a:pt x="37" y="145"/>
                    <a:pt x="24" y="139"/>
                    <a:pt x="14" y="129"/>
                  </a:cubicBezTo>
                  <a:cubicBezTo>
                    <a:pt x="0" y="115"/>
                    <a:pt x="0" y="97"/>
                    <a:pt x="0" y="72"/>
                  </a:cubicBezTo>
                  <a:cubicBezTo>
                    <a:pt x="0" y="48"/>
                    <a:pt x="0" y="30"/>
                    <a:pt x="14" y="16"/>
                  </a:cubicBezTo>
                  <a:cubicBezTo>
                    <a:pt x="24" y="6"/>
                    <a:pt x="37" y="0"/>
                    <a:pt x="53" y="0"/>
                  </a:cubicBezTo>
                  <a:cubicBezTo>
                    <a:pt x="69" y="0"/>
                    <a:pt x="81" y="6"/>
                    <a:pt x="91" y="16"/>
                  </a:cubicBezTo>
                  <a:cubicBezTo>
                    <a:pt x="106" y="30"/>
                    <a:pt x="105" y="48"/>
                    <a:pt x="105" y="72"/>
                  </a:cubicBezTo>
                  <a:cubicBezTo>
                    <a:pt x="105" y="97"/>
                    <a:pt x="106" y="115"/>
                    <a:pt x="91" y="129"/>
                  </a:cubicBezTo>
                  <a:close/>
                  <a:moveTo>
                    <a:pt x="71" y="32"/>
                  </a:moveTo>
                  <a:lnTo>
                    <a:pt x="71" y="32"/>
                  </a:lnTo>
                  <a:cubicBezTo>
                    <a:pt x="67" y="28"/>
                    <a:pt x="60" y="25"/>
                    <a:pt x="53" y="25"/>
                  </a:cubicBezTo>
                  <a:cubicBezTo>
                    <a:pt x="45" y="25"/>
                    <a:pt x="39" y="28"/>
                    <a:pt x="35" y="32"/>
                  </a:cubicBezTo>
                  <a:cubicBezTo>
                    <a:pt x="29" y="38"/>
                    <a:pt x="28" y="45"/>
                    <a:pt x="28" y="72"/>
                  </a:cubicBezTo>
                  <a:cubicBezTo>
                    <a:pt x="28" y="100"/>
                    <a:pt x="29" y="106"/>
                    <a:pt x="35" y="112"/>
                  </a:cubicBezTo>
                  <a:cubicBezTo>
                    <a:pt x="39" y="117"/>
                    <a:pt x="45" y="120"/>
                    <a:pt x="53" y="120"/>
                  </a:cubicBezTo>
                  <a:cubicBezTo>
                    <a:pt x="60" y="120"/>
                    <a:pt x="67" y="117"/>
                    <a:pt x="71" y="112"/>
                  </a:cubicBezTo>
                  <a:cubicBezTo>
                    <a:pt x="76" y="106"/>
                    <a:pt x="78" y="100"/>
                    <a:pt x="78" y="72"/>
                  </a:cubicBezTo>
                  <a:cubicBezTo>
                    <a:pt x="78" y="45"/>
                    <a:pt x="76" y="38"/>
                    <a:pt x="71" y="3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1" name="Freeform 53"/>
            <p:cNvSpPr>
              <a:spLocks/>
            </p:cNvSpPr>
            <p:nvPr/>
          </p:nvSpPr>
          <p:spPr bwMode="auto">
            <a:xfrm>
              <a:off x="8921750" y="-496888"/>
              <a:ext cx="93663" cy="130175"/>
            </a:xfrm>
            <a:custGeom>
              <a:avLst/>
              <a:gdLst>
                <a:gd name="T0" fmla="*/ 52 w 105"/>
                <a:gd name="T1" fmla="*/ 145 h 145"/>
                <a:gd name="T2" fmla="*/ 52 w 105"/>
                <a:gd name="T3" fmla="*/ 145 h 145"/>
                <a:gd name="T4" fmla="*/ 0 w 105"/>
                <a:gd name="T5" fmla="*/ 126 h 145"/>
                <a:gd name="T6" fmla="*/ 18 w 105"/>
                <a:gd name="T7" fmla="*/ 108 h 145"/>
                <a:gd name="T8" fmla="*/ 53 w 105"/>
                <a:gd name="T9" fmla="*/ 120 h 145"/>
                <a:gd name="T10" fmla="*/ 78 w 105"/>
                <a:gd name="T11" fmla="*/ 102 h 145"/>
                <a:gd name="T12" fmla="*/ 74 w 105"/>
                <a:gd name="T13" fmla="*/ 90 h 145"/>
                <a:gd name="T14" fmla="*/ 61 w 105"/>
                <a:gd name="T15" fmla="*/ 85 h 145"/>
                <a:gd name="T16" fmla="*/ 44 w 105"/>
                <a:gd name="T17" fmla="*/ 83 h 145"/>
                <a:gd name="T18" fmla="*/ 16 w 105"/>
                <a:gd name="T19" fmla="*/ 71 h 145"/>
                <a:gd name="T20" fmla="*/ 6 w 105"/>
                <a:gd name="T21" fmla="*/ 43 h 145"/>
                <a:gd name="T22" fmla="*/ 56 w 105"/>
                <a:gd name="T23" fmla="*/ 0 h 145"/>
                <a:gd name="T24" fmla="*/ 102 w 105"/>
                <a:gd name="T25" fmla="*/ 17 h 145"/>
                <a:gd name="T26" fmla="*/ 84 w 105"/>
                <a:gd name="T27" fmla="*/ 34 h 145"/>
                <a:gd name="T28" fmla="*/ 55 w 105"/>
                <a:gd name="T29" fmla="*/ 24 h 145"/>
                <a:gd name="T30" fmla="*/ 33 w 105"/>
                <a:gd name="T31" fmla="*/ 42 h 145"/>
                <a:gd name="T32" fmla="*/ 37 w 105"/>
                <a:gd name="T33" fmla="*/ 52 h 145"/>
                <a:gd name="T34" fmla="*/ 50 w 105"/>
                <a:gd name="T35" fmla="*/ 58 h 145"/>
                <a:gd name="T36" fmla="*/ 67 w 105"/>
                <a:gd name="T37" fmla="*/ 60 h 145"/>
                <a:gd name="T38" fmla="*/ 94 w 105"/>
                <a:gd name="T39" fmla="*/ 71 h 145"/>
                <a:gd name="T40" fmla="*/ 105 w 105"/>
                <a:gd name="T41" fmla="*/ 102 h 145"/>
                <a:gd name="T42" fmla="*/ 52 w 105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5" h="145">
                  <a:moveTo>
                    <a:pt x="52" y="145"/>
                  </a:moveTo>
                  <a:lnTo>
                    <a:pt x="52" y="145"/>
                  </a:lnTo>
                  <a:cubicBezTo>
                    <a:pt x="31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40" y="120"/>
                    <a:pt x="53" y="120"/>
                  </a:cubicBezTo>
                  <a:cubicBezTo>
                    <a:pt x="69" y="120"/>
                    <a:pt x="78" y="114"/>
                    <a:pt x="78" y="102"/>
                  </a:cubicBezTo>
                  <a:cubicBezTo>
                    <a:pt x="78" y="97"/>
                    <a:pt x="77" y="93"/>
                    <a:pt x="74" y="90"/>
                  </a:cubicBezTo>
                  <a:cubicBezTo>
                    <a:pt x="71" y="88"/>
                    <a:pt x="68" y="86"/>
                    <a:pt x="61" y="85"/>
                  </a:cubicBezTo>
                  <a:lnTo>
                    <a:pt x="44" y="83"/>
                  </a:lnTo>
                  <a:cubicBezTo>
                    <a:pt x="32" y="81"/>
                    <a:pt x="23" y="77"/>
                    <a:pt x="16" y="71"/>
                  </a:cubicBezTo>
                  <a:cubicBezTo>
                    <a:pt x="9" y="65"/>
                    <a:pt x="6" y="55"/>
                    <a:pt x="6" y="43"/>
                  </a:cubicBezTo>
                  <a:cubicBezTo>
                    <a:pt x="6" y="18"/>
                    <a:pt x="25" y="0"/>
                    <a:pt x="56" y="0"/>
                  </a:cubicBezTo>
                  <a:cubicBezTo>
                    <a:pt x="75" y="0"/>
                    <a:pt x="89" y="5"/>
                    <a:pt x="102" y="17"/>
                  </a:cubicBezTo>
                  <a:lnTo>
                    <a:pt x="84" y="34"/>
                  </a:lnTo>
                  <a:cubicBezTo>
                    <a:pt x="75" y="26"/>
                    <a:pt x="64" y="24"/>
                    <a:pt x="55" y="24"/>
                  </a:cubicBezTo>
                  <a:cubicBezTo>
                    <a:pt x="40" y="24"/>
                    <a:pt x="33" y="32"/>
                    <a:pt x="33" y="42"/>
                  </a:cubicBezTo>
                  <a:cubicBezTo>
                    <a:pt x="33" y="46"/>
                    <a:pt x="34" y="50"/>
                    <a:pt x="37" y="52"/>
                  </a:cubicBezTo>
                  <a:cubicBezTo>
                    <a:pt x="40" y="55"/>
                    <a:pt x="44" y="57"/>
                    <a:pt x="50" y="58"/>
                  </a:cubicBezTo>
                  <a:lnTo>
                    <a:pt x="67" y="60"/>
                  </a:lnTo>
                  <a:cubicBezTo>
                    <a:pt x="80" y="62"/>
                    <a:pt x="88" y="66"/>
                    <a:pt x="94" y="71"/>
                  </a:cubicBezTo>
                  <a:cubicBezTo>
                    <a:pt x="102" y="79"/>
                    <a:pt x="105" y="89"/>
                    <a:pt x="105" y="102"/>
                  </a:cubicBezTo>
                  <a:cubicBezTo>
                    <a:pt x="105" y="129"/>
                    <a:pt x="82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2" name="Freeform 54"/>
            <p:cNvSpPr>
              <a:spLocks noEditPoints="1"/>
            </p:cNvSpPr>
            <p:nvPr/>
          </p:nvSpPr>
          <p:spPr bwMode="auto">
            <a:xfrm>
              <a:off x="9024938" y="-495301"/>
              <a:ext cx="112713" cy="128588"/>
            </a:xfrm>
            <a:custGeom>
              <a:avLst/>
              <a:gdLst>
                <a:gd name="T0" fmla="*/ 97 w 126"/>
                <a:gd name="T1" fmla="*/ 143 h 143"/>
                <a:gd name="T2" fmla="*/ 97 w 126"/>
                <a:gd name="T3" fmla="*/ 143 h 143"/>
                <a:gd name="T4" fmla="*/ 89 w 126"/>
                <a:gd name="T5" fmla="*/ 117 h 143"/>
                <a:gd name="T6" fmla="*/ 38 w 126"/>
                <a:gd name="T7" fmla="*/ 117 h 143"/>
                <a:gd name="T8" fmla="*/ 29 w 126"/>
                <a:gd name="T9" fmla="*/ 143 h 143"/>
                <a:gd name="T10" fmla="*/ 0 w 126"/>
                <a:gd name="T11" fmla="*/ 143 h 143"/>
                <a:gd name="T12" fmla="*/ 52 w 126"/>
                <a:gd name="T13" fmla="*/ 0 h 143"/>
                <a:gd name="T14" fmla="*/ 74 w 126"/>
                <a:gd name="T15" fmla="*/ 0 h 143"/>
                <a:gd name="T16" fmla="*/ 126 w 126"/>
                <a:gd name="T17" fmla="*/ 143 h 143"/>
                <a:gd name="T18" fmla="*/ 97 w 126"/>
                <a:gd name="T19" fmla="*/ 143 h 143"/>
                <a:gd name="T20" fmla="*/ 64 w 126"/>
                <a:gd name="T21" fmla="*/ 42 h 143"/>
                <a:gd name="T22" fmla="*/ 64 w 126"/>
                <a:gd name="T23" fmla="*/ 42 h 143"/>
                <a:gd name="T24" fmla="*/ 46 w 126"/>
                <a:gd name="T25" fmla="*/ 94 h 143"/>
                <a:gd name="T26" fmla="*/ 81 w 126"/>
                <a:gd name="T27" fmla="*/ 94 h 143"/>
                <a:gd name="T28" fmla="*/ 64 w 126"/>
                <a:gd name="T29" fmla="*/ 4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6" h="143">
                  <a:moveTo>
                    <a:pt x="97" y="143"/>
                  </a:moveTo>
                  <a:lnTo>
                    <a:pt x="97" y="143"/>
                  </a:lnTo>
                  <a:lnTo>
                    <a:pt x="89" y="117"/>
                  </a:lnTo>
                  <a:lnTo>
                    <a:pt x="38" y="117"/>
                  </a:lnTo>
                  <a:lnTo>
                    <a:pt x="29" y="143"/>
                  </a:lnTo>
                  <a:lnTo>
                    <a:pt x="0" y="143"/>
                  </a:lnTo>
                  <a:lnTo>
                    <a:pt x="52" y="0"/>
                  </a:lnTo>
                  <a:lnTo>
                    <a:pt x="74" y="0"/>
                  </a:lnTo>
                  <a:lnTo>
                    <a:pt x="126" y="143"/>
                  </a:lnTo>
                  <a:lnTo>
                    <a:pt x="97" y="143"/>
                  </a:lnTo>
                  <a:close/>
                  <a:moveTo>
                    <a:pt x="64" y="42"/>
                  </a:moveTo>
                  <a:lnTo>
                    <a:pt x="64" y="42"/>
                  </a:lnTo>
                  <a:lnTo>
                    <a:pt x="46" y="94"/>
                  </a:lnTo>
                  <a:lnTo>
                    <a:pt x="81" y="94"/>
                  </a:lnTo>
                  <a:lnTo>
                    <a:pt x="64" y="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3" name="Freeform 55"/>
            <p:cNvSpPr>
              <a:spLocks/>
            </p:cNvSpPr>
            <p:nvPr/>
          </p:nvSpPr>
          <p:spPr bwMode="auto">
            <a:xfrm>
              <a:off x="9155113" y="-495301"/>
              <a:ext cx="82550" cy="128588"/>
            </a:xfrm>
            <a:custGeom>
              <a:avLst/>
              <a:gdLst>
                <a:gd name="T0" fmla="*/ 0 w 92"/>
                <a:gd name="T1" fmla="*/ 0 h 143"/>
                <a:gd name="T2" fmla="*/ 0 w 92"/>
                <a:gd name="T3" fmla="*/ 0 h 143"/>
                <a:gd name="T4" fmla="*/ 0 w 92"/>
                <a:gd name="T5" fmla="*/ 143 h 143"/>
                <a:gd name="T6" fmla="*/ 92 w 92"/>
                <a:gd name="T7" fmla="*/ 143 h 143"/>
                <a:gd name="T8" fmla="*/ 92 w 92"/>
                <a:gd name="T9" fmla="*/ 118 h 143"/>
                <a:gd name="T10" fmla="*/ 28 w 92"/>
                <a:gd name="T11" fmla="*/ 118 h 143"/>
                <a:gd name="T12" fmla="*/ 28 w 92"/>
                <a:gd name="T13" fmla="*/ 0 h 143"/>
                <a:gd name="T14" fmla="*/ 0 w 92"/>
                <a:gd name="T1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143">
                  <a:moveTo>
                    <a:pt x="0" y="0"/>
                  </a:moveTo>
                  <a:lnTo>
                    <a:pt x="0" y="0"/>
                  </a:lnTo>
                  <a:lnTo>
                    <a:pt x="0" y="143"/>
                  </a:lnTo>
                  <a:lnTo>
                    <a:pt x="92" y="143"/>
                  </a:lnTo>
                  <a:lnTo>
                    <a:pt x="92" y="118"/>
                  </a:lnTo>
                  <a:lnTo>
                    <a:pt x="28" y="118"/>
                  </a:lnTo>
                  <a:lnTo>
                    <a:pt x="2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37" name="Chevrons"/>
          <p:cNvGrpSpPr/>
          <p:nvPr/>
        </p:nvGrpSpPr>
        <p:grpSpPr>
          <a:xfrm>
            <a:off x="7155497" y="1653488"/>
            <a:ext cx="215175" cy="74486"/>
            <a:chOff x="2177378" y="401620"/>
            <a:chExt cx="264150" cy="91440"/>
          </a:xfrm>
          <a:solidFill>
            <a:schemeClr val="accent5"/>
          </a:solidFill>
        </p:grpSpPr>
        <p:sp>
          <p:nvSpPr>
            <p:cNvPr id="367" name="Chevron 366"/>
            <p:cNvSpPr/>
            <p:nvPr/>
          </p:nvSpPr>
          <p:spPr>
            <a:xfrm>
              <a:off x="2177378" y="401620"/>
              <a:ext cx="91440" cy="9144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8" name="Chevron 367"/>
            <p:cNvSpPr/>
            <p:nvPr/>
          </p:nvSpPr>
          <p:spPr>
            <a:xfrm>
              <a:off x="2263733" y="401620"/>
              <a:ext cx="91440" cy="9144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9" name="Chevron 368"/>
            <p:cNvSpPr/>
            <p:nvPr/>
          </p:nvSpPr>
          <p:spPr>
            <a:xfrm>
              <a:off x="2350088" y="401620"/>
              <a:ext cx="91440" cy="9144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0" name="Treatment Tan"/>
          <p:cNvGrpSpPr/>
          <p:nvPr/>
        </p:nvGrpSpPr>
        <p:grpSpPr>
          <a:xfrm>
            <a:off x="5845671" y="1464750"/>
            <a:ext cx="1280160" cy="2926081"/>
            <a:chOff x="5845671" y="1464750"/>
            <a:chExt cx="1280160" cy="2926081"/>
          </a:xfrm>
        </p:grpSpPr>
        <p:sp>
          <p:nvSpPr>
            <p:cNvPr id="135" name="Treatment Tan"/>
            <p:cNvSpPr/>
            <p:nvPr/>
          </p:nvSpPr>
          <p:spPr>
            <a:xfrm>
              <a:off x="5845671" y="1464750"/>
              <a:ext cx="1280160" cy="2926081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138" name="Treatment"/>
            <p:cNvGrpSpPr/>
            <p:nvPr/>
          </p:nvGrpSpPr>
          <p:grpSpPr>
            <a:xfrm>
              <a:off x="6076463" y="1638358"/>
              <a:ext cx="818577" cy="104746"/>
              <a:chOff x="5437188" y="-819151"/>
              <a:chExt cx="1004888" cy="128588"/>
            </a:xfrm>
            <a:solidFill>
              <a:schemeClr val="accent5">
                <a:lumMod val="75000"/>
              </a:schemeClr>
            </a:solidFill>
          </p:grpSpPr>
          <p:sp>
            <p:nvSpPr>
              <p:cNvPr id="358" name="Freeform 33"/>
              <p:cNvSpPr>
                <a:spLocks/>
              </p:cNvSpPr>
              <p:nvPr/>
            </p:nvSpPr>
            <p:spPr bwMode="auto">
              <a:xfrm>
                <a:off x="5437188" y="-819151"/>
                <a:ext cx="92075" cy="128588"/>
              </a:xfrm>
              <a:custGeom>
                <a:avLst/>
                <a:gdLst>
                  <a:gd name="T0" fmla="*/ 65 w 102"/>
                  <a:gd name="T1" fmla="*/ 25 h 142"/>
                  <a:gd name="T2" fmla="*/ 65 w 102"/>
                  <a:gd name="T3" fmla="*/ 25 h 142"/>
                  <a:gd name="T4" fmla="*/ 65 w 102"/>
                  <a:gd name="T5" fmla="*/ 142 h 142"/>
                  <a:gd name="T6" fmla="*/ 37 w 102"/>
                  <a:gd name="T7" fmla="*/ 142 h 142"/>
                  <a:gd name="T8" fmla="*/ 37 w 102"/>
                  <a:gd name="T9" fmla="*/ 25 h 142"/>
                  <a:gd name="T10" fmla="*/ 0 w 102"/>
                  <a:gd name="T11" fmla="*/ 25 h 142"/>
                  <a:gd name="T12" fmla="*/ 0 w 102"/>
                  <a:gd name="T13" fmla="*/ 0 h 142"/>
                  <a:gd name="T14" fmla="*/ 102 w 102"/>
                  <a:gd name="T15" fmla="*/ 0 h 142"/>
                  <a:gd name="T16" fmla="*/ 102 w 102"/>
                  <a:gd name="T17" fmla="*/ 25 h 142"/>
                  <a:gd name="T18" fmla="*/ 65 w 102"/>
                  <a:gd name="T19" fmla="*/ 25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42">
                    <a:moveTo>
                      <a:pt x="65" y="25"/>
                    </a:moveTo>
                    <a:lnTo>
                      <a:pt x="65" y="25"/>
                    </a:lnTo>
                    <a:lnTo>
                      <a:pt x="65" y="142"/>
                    </a:lnTo>
                    <a:lnTo>
                      <a:pt x="37" y="142"/>
                    </a:lnTo>
                    <a:lnTo>
                      <a:pt x="37" y="25"/>
                    </a:lnTo>
                    <a:lnTo>
                      <a:pt x="0" y="25"/>
                    </a:lnTo>
                    <a:lnTo>
                      <a:pt x="0" y="0"/>
                    </a:lnTo>
                    <a:lnTo>
                      <a:pt x="102" y="0"/>
                    </a:lnTo>
                    <a:lnTo>
                      <a:pt x="102" y="25"/>
                    </a:lnTo>
                    <a:lnTo>
                      <a:pt x="65" y="2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59" name="Freeform 34"/>
              <p:cNvSpPr>
                <a:spLocks noEditPoints="1"/>
              </p:cNvSpPr>
              <p:nvPr/>
            </p:nvSpPr>
            <p:spPr bwMode="auto">
              <a:xfrm>
                <a:off x="5549900" y="-819151"/>
                <a:ext cx="95250" cy="128588"/>
              </a:xfrm>
              <a:custGeom>
                <a:avLst/>
                <a:gdLst>
                  <a:gd name="T0" fmla="*/ 76 w 108"/>
                  <a:gd name="T1" fmla="*/ 142 h 142"/>
                  <a:gd name="T2" fmla="*/ 76 w 108"/>
                  <a:gd name="T3" fmla="*/ 142 h 142"/>
                  <a:gd name="T4" fmla="*/ 48 w 108"/>
                  <a:gd name="T5" fmla="*/ 86 h 142"/>
                  <a:gd name="T6" fmla="*/ 28 w 108"/>
                  <a:gd name="T7" fmla="*/ 86 h 142"/>
                  <a:gd name="T8" fmla="*/ 28 w 108"/>
                  <a:gd name="T9" fmla="*/ 142 h 142"/>
                  <a:gd name="T10" fmla="*/ 0 w 108"/>
                  <a:gd name="T11" fmla="*/ 142 h 142"/>
                  <a:gd name="T12" fmla="*/ 0 w 108"/>
                  <a:gd name="T13" fmla="*/ 0 h 142"/>
                  <a:gd name="T14" fmla="*/ 56 w 108"/>
                  <a:gd name="T15" fmla="*/ 0 h 142"/>
                  <a:gd name="T16" fmla="*/ 102 w 108"/>
                  <a:gd name="T17" fmla="*/ 44 h 142"/>
                  <a:gd name="T18" fmla="*/ 76 w 108"/>
                  <a:gd name="T19" fmla="*/ 81 h 142"/>
                  <a:gd name="T20" fmla="*/ 108 w 108"/>
                  <a:gd name="T21" fmla="*/ 142 h 142"/>
                  <a:gd name="T22" fmla="*/ 76 w 108"/>
                  <a:gd name="T23" fmla="*/ 142 h 142"/>
                  <a:gd name="T24" fmla="*/ 54 w 108"/>
                  <a:gd name="T25" fmla="*/ 25 h 142"/>
                  <a:gd name="T26" fmla="*/ 54 w 108"/>
                  <a:gd name="T27" fmla="*/ 25 h 142"/>
                  <a:gd name="T28" fmla="*/ 28 w 108"/>
                  <a:gd name="T29" fmla="*/ 25 h 142"/>
                  <a:gd name="T30" fmla="*/ 28 w 108"/>
                  <a:gd name="T31" fmla="*/ 62 h 142"/>
                  <a:gd name="T32" fmla="*/ 54 w 108"/>
                  <a:gd name="T33" fmla="*/ 62 h 142"/>
                  <a:gd name="T34" fmla="*/ 74 w 108"/>
                  <a:gd name="T35" fmla="*/ 44 h 142"/>
                  <a:gd name="T36" fmla="*/ 54 w 108"/>
                  <a:gd name="T37" fmla="*/ 25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8" h="142">
                    <a:moveTo>
                      <a:pt x="76" y="142"/>
                    </a:moveTo>
                    <a:lnTo>
                      <a:pt x="76" y="142"/>
                    </a:lnTo>
                    <a:lnTo>
                      <a:pt x="48" y="86"/>
                    </a:lnTo>
                    <a:lnTo>
                      <a:pt x="28" y="86"/>
                    </a:lnTo>
                    <a:lnTo>
                      <a:pt x="28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56" y="0"/>
                    </a:lnTo>
                    <a:cubicBezTo>
                      <a:pt x="85" y="0"/>
                      <a:pt x="102" y="20"/>
                      <a:pt x="102" y="44"/>
                    </a:cubicBezTo>
                    <a:cubicBezTo>
                      <a:pt x="102" y="64"/>
                      <a:pt x="90" y="76"/>
                      <a:pt x="76" y="81"/>
                    </a:cubicBezTo>
                    <a:lnTo>
                      <a:pt x="108" y="142"/>
                    </a:lnTo>
                    <a:lnTo>
                      <a:pt x="76" y="142"/>
                    </a:lnTo>
                    <a:close/>
                    <a:moveTo>
                      <a:pt x="54" y="25"/>
                    </a:moveTo>
                    <a:lnTo>
                      <a:pt x="54" y="25"/>
                    </a:lnTo>
                    <a:lnTo>
                      <a:pt x="28" y="25"/>
                    </a:lnTo>
                    <a:lnTo>
                      <a:pt x="28" y="62"/>
                    </a:lnTo>
                    <a:lnTo>
                      <a:pt x="54" y="62"/>
                    </a:lnTo>
                    <a:cubicBezTo>
                      <a:pt x="66" y="62"/>
                      <a:pt x="74" y="55"/>
                      <a:pt x="74" y="44"/>
                    </a:cubicBezTo>
                    <a:cubicBezTo>
                      <a:pt x="74" y="33"/>
                      <a:pt x="66" y="25"/>
                      <a:pt x="54" y="2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0" name="Freeform 35"/>
              <p:cNvSpPr>
                <a:spLocks/>
              </p:cNvSpPr>
              <p:nvPr/>
            </p:nvSpPr>
            <p:spPr bwMode="auto">
              <a:xfrm>
                <a:off x="5665788" y="-819151"/>
                <a:ext cx="82550" cy="128588"/>
              </a:xfrm>
              <a:custGeom>
                <a:avLst/>
                <a:gdLst>
                  <a:gd name="T0" fmla="*/ 0 w 93"/>
                  <a:gd name="T1" fmla="*/ 142 h 142"/>
                  <a:gd name="T2" fmla="*/ 0 w 93"/>
                  <a:gd name="T3" fmla="*/ 142 h 142"/>
                  <a:gd name="T4" fmla="*/ 0 w 93"/>
                  <a:gd name="T5" fmla="*/ 0 h 142"/>
                  <a:gd name="T6" fmla="*/ 93 w 93"/>
                  <a:gd name="T7" fmla="*/ 0 h 142"/>
                  <a:gd name="T8" fmla="*/ 93 w 93"/>
                  <a:gd name="T9" fmla="*/ 25 h 142"/>
                  <a:gd name="T10" fmla="*/ 27 w 93"/>
                  <a:gd name="T11" fmla="*/ 25 h 142"/>
                  <a:gd name="T12" fmla="*/ 27 w 93"/>
                  <a:gd name="T13" fmla="*/ 58 h 142"/>
                  <a:gd name="T14" fmla="*/ 84 w 93"/>
                  <a:gd name="T15" fmla="*/ 58 h 142"/>
                  <a:gd name="T16" fmla="*/ 84 w 93"/>
                  <a:gd name="T17" fmla="*/ 83 h 142"/>
                  <a:gd name="T18" fmla="*/ 27 w 93"/>
                  <a:gd name="T19" fmla="*/ 83 h 142"/>
                  <a:gd name="T20" fmla="*/ 27 w 93"/>
                  <a:gd name="T21" fmla="*/ 118 h 142"/>
                  <a:gd name="T22" fmla="*/ 93 w 93"/>
                  <a:gd name="T23" fmla="*/ 118 h 142"/>
                  <a:gd name="T24" fmla="*/ 93 w 93"/>
                  <a:gd name="T25" fmla="*/ 142 h 142"/>
                  <a:gd name="T26" fmla="*/ 0 w 93"/>
                  <a:gd name="T27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3" h="142">
                    <a:moveTo>
                      <a:pt x="0" y="142"/>
                    </a:moveTo>
                    <a:lnTo>
                      <a:pt x="0" y="142"/>
                    </a:lnTo>
                    <a:lnTo>
                      <a:pt x="0" y="0"/>
                    </a:lnTo>
                    <a:lnTo>
                      <a:pt x="93" y="0"/>
                    </a:lnTo>
                    <a:lnTo>
                      <a:pt x="93" y="25"/>
                    </a:lnTo>
                    <a:lnTo>
                      <a:pt x="27" y="25"/>
                    </a:lnTo>
                    <a:lnTo>
                      <a:pt x="27" y="58"/>
                    </a:lnTo>
                    <a:lnTo>
                      <a:pt x="84" y="58"/>
                    </a:lnTo>
                    <a:lnTo>
                      <a:pt x="84" y="83"/>
                    </a:lnTo>
                    <a:lnTo>
                      <a:pt x="27" y="83"/>
                    </a:lnTo>
                    <a:lnTo>
                      <a:pt x="27" y="118"/>
                    </a:lnTo>
                    <a:lnTo>
                      <a:pt x="93" y="118"/>
                    </a:lnTo>
                    <a:lnTo>
                      <a:pt x="93" y="142"/>
                    </a:lnTo>
                    <a:lnTo>
                      <a:pt x="0" y="14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1" name="Freeform 36"/>
              <p:cNvSpPr>
                <a:spLocks noEditPoints="1"/>
              </p:cNvSpPr>
              <p:nvPr/>
            </p:nvSpPr>
            <p:spPr bwMode="auto">
              <a:xfrm>
                <a:off x="5764213" y="-819151"/>
                <a:ext cx="112713" cy="128588"/>
              </a:xfrm>
              <a:custGeom>
                <a:avLst/>
                <a:gdLst>
                  <a:gd name="T0" fmla="*/ 97 w 126"/>
                  <a:gd name="T1" fmla="*/ 142 h 142"/>
                  <a:gd name="T2" fmla="*/ 97 w 126"/>
                  <a:gd name="T3" fmla="*/ 142 h 142"/>
                  <a:gd name="T4" fmla="*/ 89 w 126"/>
                  <a:gd name="T5" fmla="*/ 117 h 142"/>
                  <a:gd name="T6" fmla="*/ 38 w 126"/>
                  <a:gd name="T7" fmla="*/ 117 h 142"/>
                  <a:gd name="T8" fmla="*/ 29 w 126"/>
                  <a:gd name="T9" fmla="*/ 142 h 142"/>
                  <a:gd name="T10" fmla="*/ 0 w 126"/>
                  <a:gd name="T11" fmla="*/ 142 h 142"/>
                  <a:gd name="T12" fmla="*/ 52 w 126"/>
                  <a:gd name="T13" fmla="*/ 0 h 142"/>
                  <a:gd name="T14" fmla="*/ 74 w 126"/>
                  <a:gd name="T15" fmla="*/ 0 h 142"/>
                  <a:gd name="T16" fmla="*/ 126 w 126"/>
                  <a:gd name="T17" fmla="*/ 142 h 142"/>
                  <a:gd name="T18" fmla="*/ 97 w 126"/>
                  <a:gd name="T19" fmla="*/ 142 h 142"/>
                  <a:gd name="T20" fmla="*/ 64 w 126"/>
                  <a:gd name="T21" fmla="*/ 42 h 142"/>
                  <a:gd name="T22" fmla="*/ 64 w 126"/>
                  <a:gd name="T23" fmla="*/ 42 h 142"/>
                  <a:gd name="T24" fmla="*/ 46 w 126"/>
                  <a:gd name="T25" fmla="*/ 94 h 142"/>
                  <a:gd name="T26" fmla="*/ 81 w 126"/>
                  <a:gd name="T27" fmla="*/ 94 h 142"/>
                  <a:gd name="T28" fmla="*/ 64 w 126"/>
                  <a:gd name="T29" fmla="*/ 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6" h="142">
                    <a:moveTo>
                      <a:pt x="97" y="142"/>
                    </a:moveTo>
                    <a:lnTo>
                      <a:pt x="97" y="142"/>
                    </a:lnTo>
                    <a:lnTo>
                      <a:pt x="89" y="117"/>
                    </a:lnTo>
                    <a:lnTo>
                      <a:pt x="38" y="117"/>
                    </a:lnTo>
                    <a:lnTo>
                      <a:pt x="29" y="142"/>
                    </a:lnTo>
                    <a:lnTo>
                      <a:pt x="0" y="142"/>
                    </a:lnTo>
                    <a:lnTo>
                      <a:pt x="52" y="0"/>
                    </a:lnTo>
                    <a:lnTo>
                      <a:pt x="74" y="0"/>
                    </a:lnTo>
                    <a:lnTo>
                      <a:pt x="126" y="142"/>
                    </a:lnTo>
                    <a:lnTo>
                      <a:pt x="97" y="142"/>
                    </a:lnTo>
                    <a:close/>
                    <a:moveTo>
                      <a:pt x="64" y="42"/>
                    </a:moveTo>
                    <a:lnTo>
                      <a:pt x="64" y="42"/>
                    </a:lnTo>
                    <a:lnTo>
                      <a:pt x="46" y="94"/>
                    </a:lnTo>
                    <a:lnTo>
                      <a:pt x="81" y="94"/>
                    </a:lnTo>
                    <a:lnTo>
                      <a:pt x="64" y="4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2" name="Freeform 37"/>
              <p:cNvSpPr>
                <a:spLocks/>
              </p:cNvSpPr>
              <p:nvPr/>
            </p:nvSpPr>
            <p:spPr bwMode="auto">
              <a:xfrm>
                <a:off x="5872163" y="-819151"/>
                <a:ext cx="92075" cy="128588"/>
              </a:xfrm>
              <a:custGeom>
                <a:avLst/>
                <a:gdLst>
                  <a:gd name="T0" fmla="*/ 65 w 102"/>
                  <a:gd name="T1" fmla="*/ 25 h 142"/>
                  <a:gd name="T2" fmla="*/ 65 w 102"/>
                  <a:gd name="T3" fmla="*/ 25 h 142"/>
                  <a:gd name="T4" fmla="*/ 65 w 102"/>
                  <a:gd name="T5" fmla="*/ 142 h 142"/>
                  <a:gd name="T6" fmla="*/ 37 w 102"/>
                  <a:gd name="T7" fmla="*/ 142 h 142"/>
                  <a:gd name="T8" fmla="*/ 37 w 102"/>
                  <a:gd name="T9" fmla="*/ 25 h 142"/>
                  <a:gd name="T10" fmla="*/ 0 w 102"/>
                  <a:gd name="T11" fmla="*/ 25 h 142"/>
                  <a:gd name="T12" fmla="*/ 0 w 102"/>
                  <a:gd name="T13" fmla="*/ 0 h 142"/>
                  <a:gd name="T14" fmla="*/ 102 w 102"/>
                  <a:gd name="T15" fmla="*/ 0 h 142"/>
                  <a:gd name="T16" fmla="*/ 102 w 102"/>
                  <a:gd name="T17" fmla="*/ 25 h 142"/>
                  <a:gd name="T18" fmla="*/ 65 w 102"/>
                  <a:gd name="T19" fmla="*/ 25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42">
                    <a:moveTo>
                      <a:pt x="65" y="25"/>
                    </a:moveTo>
                    <a:lnTo>
                      <a:pt x="65" y="25"/>
                    </a:lnTo>
                    <a:lnTo>
                      <a:pt x="65" y="142"/>
                    </a:lnTo>
                    <a:lnTo>
                      <a:pt x="37" y="142"/>
                    </a:lnTo>
                    <a:lnTo>
                      <a:pt x="37" y="25"/>
                    </a:lnTo>
                    <a:lnTo>
                      <a:pt x="0" y="25"/>
                    </a:lnTo>
                    <a:lnTo>
                      <a:pt x="0" y="0"/>
                    </a:lnTo>
                    <a:lnTo>
                      <a:pt x="102" y="0"/>
                    </a:lnTo>
                    <a:lnTo>
                      <a:pt x="102" y="25"/>
                    </a:lnTo>
                    <a:lnTo>
                      <a:pt x="65" y="2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3" name="Freeform 38"/>
              <p:cNvSpPr>
                <a:spLocks/>
              </p:cNvSpPr>
              <p:nvPr/>
            </p:nvSpPr>
            <p:spPr bwMode="auto">
              <a:xfrm>
                <a:off x="5984875" y="-819151"/>
                <a:ext cx="114300" cy="128588"/>
              </a:xfrm>
              <a:custGeom>
                <a:avLst/>
                <a:gdLst>
                  <a:gd name="T0" fmla="*/ 101 w 129"/>
                  <a:gd name="T1" fmla="*/ 142 h 142"/>
                  <a:gd name="T2" fmla="*/ 101 w 129"/>
                  <a:gd name="T3" fmla="*/ 142 h 142"/>
                  <a:gd name="T4" fmla="*/ 101 w 129"/>
                  <a:gd name="T5" fmla="*/ 59 h 142"/>
                  <a:gd name="T6" fmla="*/ 74 w 129"/>
                  <a:gd name="T7" fmla="*/ 113 h 142"/>
                  <a:gd name="T8" fmla="*/ 55 w 129"/>
                  <a:gd name="T9" fmla="*/ 113 h 142"/>
                  <a:gd name="T10" fmla="*/ 27 w 129"/>
                  <a:gd name="T11" fmla="*/ 59 h 142"/>
                  <a:gd name="T12" fmla="*/ 27 w 129"/>
                  <a:gd name="T13" fmla="*/ 142 h 142"/>
                  <a:gd name="T14" fmla="*/ 0 w 129"/>
                  <a:gd name="T15" fmla="*/ 142 h 142"/>
                  <a:gd name="T16" fmla="*/ 0 w 129"/>
                  <a:gd name="T17" fmla="*/ 0 h 142"/>
                  <a:gd name="T18" fmla="*/ 27 w 129"/>
                  <a:gd name="T19" fmla="*/ 0 h 142"/>
                  <a:gd name="T20" fmla="*/ 64 w 129"/>
                  <a:gd name="T21" fmla="*/ 77 h 142"/>
                  <a:gd name="T22" fmla="*/ 101 w 129"/>
                  <a:gd name="T23" fmla="*/ 0 h 142"/>
                  <a:gd name="T24" fmla="*/ 129 w 129"/>
                  <a:gd name="T25" fmla="*/ 0 h 142"/>
                  <a:gd name="T26" fmla="*/ 129 w 129"/>
                  <a:gd name="T27" fmla="*/ 142 h 142"/>
                  <a:gd name="T28" fmla="*/ 101 w 129"/>
                  <a:gd name="T29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9" h="142">
                    <a:moveTo>
                      <a:pt x="101" y="142"/>
                    </a:moveTo>
                    <a:lnTo>
                      <a:pt x="101" y="142"/>
                    </a:lnTo>
                    <a:lnTo>
                      <a:pt x="101" y="59"/>
                    </a:lnTo>
                    <a:lnTo>
                      <a:pt x="74" y="113"/>
                    </a:lnTo>
                    <a:lnTo>
                      <a:pt x="55" y="113"/>
                    </a:lnTo>
                    <a:lnTo>
                      <a:pt x="27" y="59"/>
                    </a:lnTo>
                    <a:lnTo>
                      <a:pt x="27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27" y="0"/>
                    </a:lnTo>
                    <a:lnTo>
                      <a:pt x="64" y="77"/>
                    </a:lnTo>
                    <a:lnTo>
                      <a:pt x="101" y="0"/>
                    </a:lnTo>
                    <a:lnTo>
                      <a:pt x="129" y="0"/>
                    </a:lnTo>
                    <a:lnTo>
                      <a:pt x="129" y="142"/>
                    </a:lnTo>
                    <a:lnTo>
                      <a:pt x="101" y="14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4" name="Freeform 39"/>
              <p:cNvSpPr>
                <a:spLocks/>
              </p:cNvSpPr>
              <p:nvPr/>
            </p:nvSpPr>
            <p:spPr bwMode="auto">
              <a:xfrm>
                <a:off x="6127750" y="-819151"/>
                <a:ext cx="82550" cy="128588"/>
              </a:xfrm>
              <a:custGeom>
                <a:avLst/>
                <a:gdLst>
                  <a:gd name="T0" fmla="*/ 0 w 93"/>
                  <a:gd name="T1" fmla="*/ 142 h 142"/>
                  <a:gd name="T2" fmla="*/ 0 w 93"/>
                  <a:gd name="T3" fmla="*/ 142 h 142"/>
                  <a:gd name="T4" fmla="*/ 0 w 93"/>
                  <a:gd name="T5" fmla="*/ 0 h 142"/>
                  <a:gd name="T6" fmla="*/ 93 w 93"/>
                  <a:gd name="T7" fmla="*/ 0 h 142"/>
                  <a:gd name="T8" fmla="*/ 93 w 93"/>
                  <a:gd name="T9" fmla="*/ 25 h 142"/>
                  <a:gd name="T10" fmla="*/ 27 w 93"/>
                  <a:gd name="T11" fmla="*/ 25 h 142"/>
                  <a:gd name="T12" fmla="*/ 27 w 93"/>
                  <a:gd name="T13" fmla="*/ 58 h 142"/>
                  <a:gd name="T14" fmla="*/ 84 w 93"/>
                  <a:gd name="T15" fmla="*/ 58 h 142"/>
                  <a:gd name="T16" fmla="*/ 84 w 93"/>
                  <a:gd name="T17" fmla="*/ 83 h 142"/>
                  <a:gd name="T18" fmla="*/ 27 w 93"/>
                  <a:gd name="T19" fmla="*/ 83 h 142"/>
                  <a:gd name="T20" fmla="*/ 27 w 93"/>
                  <a:gd name="T21" fmla="*/ 118 h 142"/>
                  <a:gd name="T22" fmla="*/ 93 w 93"/>
                  <a:gd name="T23" fmla="*/ 118 h 142"/>
                  <a:gd name="T24" fmla="*/ 93 w 93"/>
                  <a:gd name="T25" fmla="*/ 142 h 142"/>
                  <a:gd name="T26" fmla="*/ 0 w 93"/>
                  <a:gd name="T27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3" h="142">
                    <a:moveTo>
                      <a:pt x="0" y="142"/>
                    </a:moveTo>
                    <a:lnTo>
                      <a:pt x="0" y="142"/>
                    </a:lnTo>
                    <a:lnTo>
                      <a:pt x="0" y="0"/>
                    </a:lnTo>
                    <a:lnTo>
                      <a:pt x="93" y="0"/>
                    </a:lnTo>
                    <a:lnTo>
                      <a:pt x="93" y="25"/>
                    </a:lnTo>
                    <a:lnTo>
                      <a:pt x="27" y="25"/>
                    </a:lnTo>
                    <a:lnTo>
                      <a:pt x="27" y="58"/>
                    </a:lnTo>
                    <a:lnTo>
                      <a:pt x="84" y="58"/>
                    </a:lnTo>
                    <a:lnTo>
                      <a:pt x="84" y="83"/>
                    </a:lnTo>
                    <a:lnTo>
                      <a:pt x="27" y="83"/>
                    </a:lnTo>
                    <a:lnTo>
                      <a:pt x="27" y="118"/>
                    </a:lnTo>
                    <a:lnTo>
                      <a:pt x="93" y="118"/>
                    </a:lnTo>
                    <a:lnTo>
                      <a:pt x="93" y="142"/>
                    </a:lnTo>
                    <a:lnTo>
                      <a:pt x="0" y="14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5" name="Freeform 40"/>
              <p:cNvSpPr>
                <a:spLocks/>
              </p:cNvSpPr>
              <p:nvPr/>
            </p:nvSpPr>
            <p:spPr bwMode="auto">
              <a:xfrm>
                <a:off x="6234113" y="-819151"/>
                <a:ext cx="98425" cy="128588"/>
              </a:xfrm>
              <a:custGeom>
                <a:avLst/>
                <a:gdLst>
                  <a:gd name="T0" fmla="*/ 84 w 109"/>
                  <a:gd name="T1" fmla="*/ 142 h 142"/>
                  <a:gd name="T2" fmla="*/ 84 w 109"/>
                  <a:gd name="T3" fmla="*/ 142 h 142"/>
                  <a:gd name="T4" fmla="*/ 27 w 109"/>
                  <a:gd name="T5" fmla="*/ 55 h 142"/>
                  <a:gd name="T6" fmla="*/ 27 w 109"/>
                  <a:gd name="T7" fmla="*/ 142 h 142"/>
                  <a:gd name="T8" fmla="*/ 0 w 109"/>
                  <a:gd name="T9" fmla="*/ 142 h 142"/>
                  <a:gd name="T10" fmla="*/ 0 w 109"/>
                  <a:gd name="T11" fmla="*/ 0 h 142"/>
                  <a:gd name="T12" fmla="*/ 24 w 109"/>
                  <a:gd name="T13" fmla="*/ 0 h 142"/>
                  <a:gd name="T14" fmla="*/ 81 w 109"/>
                  <a:gd name="T15" fmla="*/ 87 h 142"/>
                  <a:gd name="T16" fmla="*/ 81 w 109"/>
                  <a:gd name="T17" fmla="*/ 0 h 142"/>
                  <a:gd name="T18" fmla="*/ 109 w 109"/>
                  <a:gd name="T19" fmla="*/ 0 h 142"/>
                  <a:gd name="T20" fmla="*/ 109 w 109"/>
                  <a:gd name="T21" fmla="*/ 142 h 142"/>
                  <a:gd name="T22" fmla="*/ 84 w 109"/>
                  <a:gd name="T23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9" h="142">
                    <a:moveTo>
                      <a:pt x="84" y="142"/>
                    </a:moveTo>
                    <a:lnTo>
                      <a:pt x="84" y="142"/>
                    </a:lnTo>
                    <a:lnTo>
                      <a:pt x="27" y="55"/>
                    </a:lnTo>
                    <a:lnTo>
                      <a:pt x="27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24" y="0"/>
                    </a:lnTo>
                    <a:lnTo>
                      <a:pt x="81" y="87"/>
                    </a:lnTo>
                    <a:lnTo>
                      <a:pt x="81" y="0"/>
                    </a:lnTo>
                    <a:lnTo>
                      <a:pt x="109" y="0"/>
                    </a:lnTo>
                    <a:lnTo>
                      <a:pt x="109" y="142"/>
                    </a:lnTo>
                    <a:lnTo>
                      <a:pt x="84" y="14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66" name="Freeform 41"/>
              <p:cNvSpPr>
                <a:spLocks/>
              </p:cNvSpPr>
              <p:nvPr/>
            </p:nvSpPr>
            <p:spPr bwMode="auto">
              <a:xfrm>
                <a:off x="6351588" y="-819151"/>
                <a:ext cx="90488" cy="128588"/>
              </a:xfrm>
              <a:custGeom>
                <a:avLst/>
                <a:gdLst>
                  <a:gd name="T0" fmla="*/ 65 w 102"/>
                  <a:gd name="T1" fmla="*/ 25 h 142"/>
                  <a:gd name="T2" fmla="*/ 65 w 102"/>
                  <a:gd name="T3" fmla="*/ 25 h 142"/>
                  <a:gd name="T4" fmla="*/ 65 w 102"/>
                  <a:gd name="T5" fmla="*/ 142 h 142"/>
                  <a:gd name="T6" fmla="*/ 37 w 102"/>
                  <a:gd name="T7" fmla="*/ 142 h 142"/>
                  <a:gd name="T8" fmla="*/ 37 w 102"/>
                  <a:gd name="T9" fmla="*/ 25 h 142"/>
                  <a:gd name="T10" fmla="*/ 0 w 102"/>
                  <a:gd name="T11" fmla="*/ 25 h 142"/>
                  <a:gd name="T12" fmla="*/ 0 w 102"/>
                  <a:gd name="T13" fmla="*/ 0 h 142"/>
                  <a:gd name="T14" fmla="*/ 102 w 102"/>
                  <a:gd name="T15" fmla="*/ 0 h 142"/>
                  <a:gd name="T16" fmla="*/ 102 w 102"/>
                  <a:gd name="T17" fmla="*/ 25 h 142"/>
                  <a:gd name="T18" fmla="*/ 65 w 102"/>
                  <a:gd name="T19" fmla="*/ 25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42">
                    <a:moveTo>
                      <a:pt x="65" y="25"/>
                    </a:moveTo>
                    <a:lnTo>
                      <a:pt x="65" y="25"/>
                    </a:lnTo>
                    <a:lnTo>
                      <a:pt x="65" y="142"/>
                    </a:lnTo>
                    <a:lnTo>
                      <a:pt x="37" y="142"/>
                    </a:lnTo>
                    <a:lnTo>
                      <a:pt x="37" y="25"/>
                    </a:lnTo>
                    <a:lnTo>
                      <a:pt x="0" y="25"/>
                    </a:lnTo>
                    <a:lnTo>
                      <a:pt x="0" y="0"/>
                    </a:lnTo>
                    <a:lnTo>
                      <a:pt x="102" y="0"/>
                    </a:lnTo>
                    <a:lnTo>
                      <a:pt x="102" y="25"/>
                    </a:lnTo>
                    <a:lnTo>
                      <a:pt x="65" y="2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139" name="Reuse/Disposal"/>
          <p:cNvGrpSpPr/>
          <p:nvPr/>
        </p:nvGrpSpPr>
        <p:grpSpPr>
          <a:xfrm>
            <a:off x="7479799" y="2253824"/>
            <a:ext cx="1170319" cy="125437"/>
            <a:chOff x="7800975" y="-508001"/>
            <a:chExt cx="1436688" cy="153988"/>
          </a:xfrm>
          <a:solidFill>
            <a:schemeClr val="accent3">
              <a:lumMod val="75000"/>
            </a:schemeClr>
          </a:solidFill>
        </p:grpSpPr>
        <p:sp>
          <p:nvSpPr>
            <p:cNvPr id="344" name="Freeform 42"/>
            <p:cNvSpPr>
              <a:spLocks noEditPoints="1"/>
            </p:cNvSpPr>
            <p:nvPr/>
          </p:nvSpPr>
          <p:spPr bwMode="auto">
            <a:xfrm>
              <a:off x="7800975" y="-495301"/>
              <a:ext cx="95250" cy="128588"/>
            </a:xfrm>
            <a:custGeom>
              <a:avLst/>
              <a:gdLst>
                <a:gd name="T0" fmla="*/ 76 w 108"/>
                <a:gd name="T1" fmla="*/ 143 h 143"/>
                <a:gd name="T2" fmla="*/ 76 w 108"/>
                <a:gd name="T3" fmla="*/ 143 h 143"/>
                <a:gd name="T4" fmla="*/ 48 w 108"/>
                <a:gd name="T5" fmla="*/ 86 h 143"/>
                <a:gd name="T6" fmla="*/ 28 w 108"/>
                <a:gd name="T7" fmla="*/ 86 h 143"/>
                <a:gd name="T8" fmla="*/ 28 w 108"/>
                <a:gd name="T9" fmla="*/ 143 h 143"/>
                <a:gd name="T10" fmla="*/ 0 w 108"/>
                <a:gd name="T11" fmla="*/ 143 h 143"/>
                <a:gd name="T12" fmla="*/ 0 w 108"/>
                <a:gd name="T13" fmla="*/ 0 h 143"/>
                <a:gd name="T14" fmla="*/ 56 w 108"/>
                <a:gd name="T15" fmla="*/ 0 h 143"/>
                <a:gd name="T16" fmla="*/ 102 w 108"/>
                <a:gd name="T17" fmla="*/ 44 h 143"/>
                <a:gd name="T18" fmla="*/ 76 w 108"/>
                <a:gd name="T19" fmla="*/ 81 h 143"/>
                <a:gd name="T20" fmla="*/ 108 w 108"/>
                <a:gd name="T21" fmla="*/ 143 h 143"/>
                <a:gd name="T22" fmla="*/ 76 w 108"/>
                <a:gd name="T23" fmla="*/ 143 h 143"/>
                <a:gd name="T24" fmla="*/ 54 w 108"/>
                <a:gd name="T25" fmla="*/ 25 h 143"/>
                <a:gd name="T26" fmla="*/ 54 w 108"/>
                <a:gd name="T27" fmla="*/ 25 h 143"/>
                <a:gd name="T28" fmla="*/ 28 w 108"/>
                <a:gd name="T29" fmla="*/ 25 h 143"/>
                <a:gd name="T30" fmla="*/ 28 w 108"/>
                <a:gd name="T31" fmla="*/ 63 h 143"/>
                <a:gd name="T32" fmla="*/ 54 w 108"/>
                <a:gd name="T33" fmla="*/ 63 h 143"/>
                <a:gd name="T34" fmla="*/ 74 w 108"/>
                <a:gd name="T35" fmla="*/ 44 h 143"/>
                <a:gd name="T36" fmla="*/ 54 w 108"/>
                <a:gd name="T37" fmla="*/ 2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8" h="143">
                  <a:moveTo>
                    <a:pt x="76" y="143"/>
                  </a:moveTo>
                  <a:lnTo>
                    <a:pt x="76" y="143"/>
                  </a:lnTo>
                  <a:lnTo>
                    <a:pt x="48" y="86"/>
                  </a:lnTo>
                  <a:lnTo>
                    <a:pt x="28" y="86"/>
                  </a:lnTo>
                  <a:lnTo>
                    <a:pt x="28" y="143"/>
                  </a:lnTo>
                  <a:lnTo>
                    <a:pt x="0" y="143"/>
                  </a:lnTo>
                  <a:lnTo>
                    <a:pt x="0" y="0"/>
                  </a:lnTo>
                  <a:lnTo>
                    <a:pt x="56" y="0"/>
                  </a:lnTo>
                  <a:cubicBezTo>
                    <a:pt x="85" y="0"/>
                    <a:pt x="102" y="20"/>
                    <a:pt x="102" y="44"/>
                  </a:cubicBezTo>
                  <a:cubicBezTo>
                    <a:pt x="102" y="64"/>
                    <a:pt x="90" y="76"/>
                    <a:pt x="76" y="81"/>
                  </a:cubicBezTo>
                  <a:lnTo>
                    <a:pt x="108" y="143"/>
                  </a:lnTo>
                  <a:lnTo>
                    <a:pt x="76" y="143"/>
                  </a:lnTo>
                  <a:close/>
                  <a:moveTo>
                    <a:pt x="54" y="25"/>
                  </a:moveTo>
                  <a:lnTo>
                    <a:pt x="54" y="25"/>
                  </a:lnTo>
                  <a:lnTo>
                    <a:pt x="28" y="25"/>
                  </a:lnTo>
                  <a:lnTo>
                    <a:pt x="28" y="63"/>
                  </a:lnTo>
                  <a:lnTo>
                    <a:pt x="54" y="63"/>
                  </a:lnTo>
                  <a:cubicBezTo>
                    <a:pt x="66" y="63"/>
                    <a:pt x="74" y="55"/>
                    <a:pt x="74" y="44"/>
                  </a:cubicBezTo>
                  <a:cubicBezTo>
                    <a:pt x="74" y="33"/>
                    <a:pt x="66" y="25"/>
                    <a:pt x="54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5" name="Freeform 43"/>
            <p:cNvSpPr>
              <a:spLocks/>
            </p:cNvSpPr>
            <p:nvPr/>
          </p:nvSpPr>
          <p:spPr bwMode="auto">
            <a:xfrm>
              <a:off x="7916863" y="-495301"/>
              <a:ext cx="84138" cy="128588"/>
            </a:xfrm>
            <a:custGeom>
              <a:avLst/>
              <a:gdLst>
                <a:gd name="T0" fmla="*/ 0 w 94"/>
                <a:gd name="T1" fmla="*/ 143 h 143"/>
                <a:gd name="T2" fmla="*/ 0 w 94"/>
                <a:gd name="T3" fmla="*/ 143 h 143"/>
                <a:gd name="T4" fmla="*/ 0 w 94"/>
                <a:gd name="T5" fmla="*/ 0 h 143"/>
                <a:gd name="T6" fmla="*/ 94 w 94"/>
                <a:gd name="T7" fmla="*/ 0 h 143"/>
                <a:gd name="T8" fmla="*/ 94 w 94"/>
                <a:gd name="T9" fmla="*/ 25 h 143"/>
                <a:gd name="T10" fmla="*/ 28 w 94"/>
                <a:gd name="T11" fmla="*/ 25 h 143"/>
                <a:gd name="T12" fmla="*/ 28 w 94"/>
                <a:gd name="T13" fmla="*/ 59 h 143"/>
                <a:gd name="T14" fmla="*/ 84 w 94"/>
                <a:gd name="T15" fmla="*/ 59 h 143"/>
                <a:gd name="T16" fmla="*/ 84 w 94"/>
                <a:gd name="T17" fmla="*/ 83 h 143"/>
                <a:gd name="T18" fmla="*/ 28 w 94"/>
                <a:gd name="T19" fmla="*/ 83 h 143"/>
                <a:gd name="T20" fmla="*/ 28 w 94"/>
                <a:gd name="T21" fmla="*/ 118 h 143"/>
                <a:gd name="T22" fmla="*/ 94 w 94"/>
                <a:gd name="T23" fmla="*/ 118 h 143"/>
                <a:gd name="T24" fmla="*/ 94 w 94"/>
                <a:gd name="T25" fmla="*/ 143 h 143"/>
                <a:gd name="T26" fmla="*/ 0 w 94"/>
                <a:gd name="T27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4" h="143">
                  <a:moveTo>
                    <a:pt x="0" y="143"/>
                  </a:moveTo>
                  <a:lnTo>
                    <a:pt x="0" y="14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25"/>
                  </a:lnTo>
                  <a:lnTo>
                    <a:pt x="28" y="25"/>
                  </a:lnTo>
                  <a:lnTo>
                    <a:pt x="28" y="59"/>
                  </a:lnTo>
                  <a:lnTo>
                    <a:pt x="84" y="59"/>
                  </a:lnTo>
                  <a:lnTo>
                    <a:pt x="84" y="83"/>
                  </a:lnTo>
                  <a:lnTo>
                    <a:pt x="28" y="83"/>
                  </a:lnTo>
                  <a:lnTo>
                    <a:pt x="28" y="118"/>
                  </a:lnTo>
                  <a:lnTo>
                    <a:pt x="94" y="118"/>
                  </a:lnTo>
                  <a:lnTo>
                    <a:pt x="94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6" name="Freeform 44"/>
            <p:cNvSpPr>
              <a:spLocks/>
            </p:cNvSpPr>
            <p:nvPr/>
          </p:nvSpPr>
          <p:spPr bwMode="auto">
            <a:xfrm>
              <a:off x="8021638" y="-495301"/>
              <a:ext cx="93663" cy="128588"/>
            </a:xfrm>
            <a:custGeom>
              <a:avLst/>
              <a:gdLst>
                <a:gd name="T0" fmla="*/ 53 w 105"/>
                <a:gd name="T1" fmla="*/ 144 h 144"/>
                <a:gd name="T2" fmla="*/ 53 w 105"/>
                <a:gd name="T3" fmla="*/ 144 h 144"/>
                <a:gd name="T4" fmla="*/ 0 w 105"/>
                <a:gd name="T5" fmla="*/ 94 h 144"/>
                <a:gd name="T6" fmla="*/ 0 w 105"/>
                <a:gd name="T7" fmla="*/ 0 h 144"/>
                <a:gd name="T8" fmla="*/ 28 w 105"/>
                <a:gd name="T9" fmla="*/ 0 h 144"/>
                <a:gd name="T10" fmla="*/ 28 w 105"/>
                <a:gd name="T11" fmla="*/ 93 h 144"/>
                <a:gd name="T12" fmla="*/ 53 w 105"/>
                <a:gd name="T13" fmla="*/ 119 h 144"/>
                <a:gd name="T14" fmla="*/ 77 w 105"/>
                <a:gd name="T15" fmla="*/ 93 h 144"/>
                <a:gd name="T16" fmla="*/ 77 w 105"/>
                <a:gd name="T17" fmla="*/ 0 h 144"/>
                <a:gd name="T18" fmla="*/ 105 w 105"/>
                <a:gd name="T19" fmla="*/ 0 h 144"/>
                <a:gd name="T20" fmla="*/ 105 w 105"/>
                <a:gd name="T21" fmla="*/ 94 h 144"/>
                <a:gd name="T22" fmla="*/ 53 w 105"/>
                <a:gd name="T2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5" h="144">
                  <a:moveTo>
                    <a:pt x="53" y="144"/>
                  </a:moveTo>
                  <a:lnTo>
                    <a:pt x="53" y="144"/>
                  </a:lnTo>
                  <a:cubicBezTo>
                    <a:pt x="23" y="144"/>
                    <a:pt x="0" y="124"/>
                    <a:pt x="0" y="94"/>
                  </a:cubicBezTo>
                  <a:lnTo>
                    <a:pt x="0" y="0"/>
                  </a:lnTo>
                  <a:lnTo>
                    <a:pt x="28" y="0"/>
                  </a:lnTo>
                  <a:lnTo>
                    <a:pt x="28" y="93"/>
                  </a:lnTo>
                  <a:cubicBezTo>
                    <a:pt x="28" y="109"/>
                    <a:pt x="38" y="119"/>
                    <a:pt x="53" y="119"/>
                  </a:cubicBezTo>
                  <a:cubicBezTo>
                    <a:pt x="68" y="119"/>
                    <a:pt x="77" y="109"/>
                    <a:pt x="77" y="93"/>
                  </a:cubicBezTo>
                  <a:lnTo>
                    <a:pt x="77" y="0"/>
                  </a:lnTo>
                  <a:lnTo>
                    <a:pt x="105" y="0"/>
                  </a:lnTo>
                  <a:lnTo>
                    <a:pt x="105" y="94"/>
                  </a:lnTo>
                  <a:cubicBezTo>
                    <a:pt x="105" y="124"/>
                    <a:pt x="82" y="144"/>
                    <a:pt x="53" y="1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7" name="Freeform 45"/>
            <p:cNvSpPr>
              <a:spLocks/>
            </p:cNvSpPr>
            <p:nvPr/>
          </p:nvSpPr>
          <p:spPr bwMode="auto">
            <a:xfrm>
              <a:off x="8131175" y="-496888"/>
              <a:ext cx="92075" cy="130175"/>
            </a:xfrm>
            <a:custGeom>
              <a:avLst/>
              <a:gdLst>
                <a:gd name="T0" fmla="*/ 52 w 104"/>
                <a:gd name="T1" fmla="*/ 145 h 145"/>
                <a:gd name="T2" fmla="*/ 52 w 104"/>
                <a:gd name="T3" fmla="*/ 145 h 145"/>
                <a:gd name="T4" fmla="*/ 0 w 104"/>
                <a:gd name="T5" fmla="*/ 126 h 145"/>
                <a:gd name="T6" fmla="*/ 18 w 104"/>
                <a:gd name="T7" fmla="*/ 108 h 145"/>
                <a:gd name="T8" fmla="*/ 52 w 104"/>
                <a:gd name="T9" fmla="*/ 120 h 145"/>
                <a:gd name="T10" fmla="*/ 77 w 104"/>
                <a:gd name="T11" fmla="*/ 102 h 145"/>
                <a:gd name="T12" fmla="*/ 73 w 104"/>
                <a:gd name="T13" fmla="*/ 90 h 145"/>
                <a:gd name="T14" fmla="*/ 60 w 104"/>
                <a:gd name="T15" fmla="*/ 85 h 145"/>
                <a:gd name="T16" fmla="*/ 43 w 104"/>
                <a:gd name="T17" fmla="*/ 83 h 145"/>
                <a:gd name="T18" fmla="*/ 15 w 104"/>
                <a:gd name="T19" fmla="*/ 71 h 145"/>
                <a:gd name="T20" fmla="*/ 5 w 104"/>
                <a:gd name="T21" fmla="*/ 43 h 145"/>
                <a:gd name="T22" fmla="*/ 55 w 104"/>
                <a:gd name="T23" fmla="*/ 0 h 145"/>
                <a:gd name="T24" fmla="*/ 101 w 104"/>
                <a:gd name="T25" fmla="*/ 17 h 145"/>
                <a:gd name="T26" fmla="*/ 83 w 104"/>
                <a:gd name="T27" fmla="*/ 34 h 145"/>
                <a:gd name="T28" fmla="*/ 54 w 104"/>
                <a:gd name="T29" fmla="*/ 24 h 145"/>
                <a:gd name="T30" fmla="*/ 32 w 104"/>
                <a:gd name="T31" fmla="*/ 42 h 145"/>
                <a:gd name="T32" fmla="*/ 36 w 104"/>
                <a:gd name="T33" fmla="*/ 52 h 145"/>
                <a:gd name="T34" fmla="*/ 49 w 104"/>
                <a:gd name="T35" fmla="*/ 58 h 145"/>
                <a:gd name="T36" fmla="*/ 66 w 104"/>
                <a:gd name="T37" fmla="*/ 60 h 145"/>
                <a:gd name="T38" fmla="*/ 93 w 104"/>
                <a:gd name="T39" fmla="*/ 71 h 145"/>
                <a:gd name="T40" fmla="*/ 104 w 104"/>
                <a:gd name="T41" fmla="*/ 102 h 145"/>
                <a:gd name="T42" fmla="*/ 52 w 104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4" h="145">
                  <a:moveTo>
                    <a:pt x="52" y="145"/>
                  </a:moveTo>
                  <a:lnTo>
                    <a:pt x="52" y="145"/>
                  </a:lnTo>
                  <a:cubicBezTo>
                    <a:pt x="30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39" y="120"/>
                    <a:pt x="52" y="120"/>
                  </a:cubicBezTo>
                  <a:cubicBezTo>
                    <a:pt x="68" y="120"/>
                    <a:pt x="77" y="114"/>
                    <a:pt x="77" y="102"/>
                  </a:cubicBezTo>
                  <a:cubicBezTo>
                    <a:pt x="77" y="97"/>
                    <a:pt x="76" y="93"/>
                    <a:pt x="73" y="90"/>
                  </a:cubicBezTo>
                  <a:cubicBezTo>
                    <a:pt x="70" y="88"/>
                    <a:pt x="67" y="86"/>
                    <a:pt x="60" y="85"/>
                  </a:cubicBezTo>
                  <a:lnTo>
                    <a:pt x="43" y="83"/>
                  </a:lnTo>
                  <a:cubicBezTo>
                    <a:pt x="31" y="81"/>
                    <a:pt x="22" y="77"/>
                    <a:pt x="15" y="71"/>
                  </a:cubicBezTo>
                  <a:cubicBezTo>
                    <a:pt x="9" y="65"/>
                    <a:pt x="5" y="55"/>
                    <a:pt x="5" y="43"/>
                  </a:cubicBezTo>
                  <a:cubicBezTo>
                    <a:pt x="5" y="18"/>
                    <a:pt x="24" y="0"/>
                    <a:pt x="55" y="0"/>
                  </a:cubicBezTo>
                  <a:cubicBezTo>
                    <a:pt x="74" y="0"/>
                    <a:pt x="89" y="5"/>
                    <a:pt x="101" y="17"/>
                  </a:cubicBezTo>
                  <a:lnTo>
                    <a:pt x="83" y="34"/>
                  </a:lnTo>
                  <a:cubicBezTo>
                    <a:pt x="74" y="26"/>
                    <a:pt x="63" y="24"/>
                    <a:pt x="54" y="24"/>
                  </a:cubicBezTo>
                  <a:cubicBezTo>
                    <a:pt x="39" y="24"/>
                    <a:pt x="32" y="32"/>
                    <a:pt x="32" y="42"/>
                  </a:cubicBezTo>
                  <a:cubicBezTo>
                    <a:pt x="32" y="46"/>
                    <a:pt x="33" y="50"/>
                    <a:pt x="36" y="52"/>
                  </a:cubicBezTo>
                  <a:cubicBezTo>
                    <a:pt x="39" y="55"/>
                    <a:pt x="44" y="57"/>
                    <a:pt x="49" y="58"/>
                  </a:cubicBezTo>
                  <a:lnTo>
                    <a:pt x="66" y="60"/>
                  </a:lnTo>
                  <a:cubicBezTo>
                    <a:pt x="79" y="62"/>
                    <a:pt x="87" y="66"/>
                    <a:pt x="93" y="71"/>
                  </a:cubicBezTo>
                  <a:cubicBezTo>
                    <a:pt x="101" y="79"/>
                    <a:pt x="104" y="89"/>
                    <a:pt x="104" y="102"/>
                  </a:cubicBezTo>
                  <a:cubicBezTo>
                    <a:pt x="104" y="129"/>
                    <a:pt x="81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8" name="Freeform 46"/>
            <p:cNvSpPr>
              <a:spLocks/>
            </p:cNvSpPr>
            <p:nvPr/>
          </p:nvSpPr>
          <p:spPr bwMode="auto">
            <a:xfrm>
              <a:off x="8245475" y="-495301"/>
              <a:ext cx="84138" cy="128588"/>
            </a:xfrm>
            <a:custGeom>
              <a:avLst/>
              <a:gdLst>
                <a:gd name="T0" fmla="*/ 0 w 93"/>
                <a:gd name="T1" fmla="*/ 143 h 143"/>
                <a:gd name="T2" fmla="*/ 0 w 93"/>
                <a:gd name="T3" fmla="*/ 143 h 143"/>
                <a:gd name="T4" fmla="*/ 0 w 93"/>
                <a:gd name="T5" fmla="*/ 0 h 143"/>
                <a:gd name="T6" fmla="*/ 93 w 93"/>
                <a:gd name="T7" fmla="*/ 0 h 143"/>
                <a:gd name="T8" fmla="*/ 93 w 93"/>
                <a:gd name="T9" fmla="*/ 25 h 143"/>
                <a:gd name="T10" fmla="*/ 27 w 93"/>
                <a:gd name="T11" fmla="*/ 25 h 143"/>
                <a:gd name="T12" fmla="*/ 27 w 93"/>
                <a:gd name="T13" fmla="*/ 59 h 143"/>
                <a:gd name="T14" fmla="*/ 84 w 93"/>
                <a:gd name="T15" fmla="*/ 59 h 143"/>
                <a:gd name="T16" fmla="*/ 84 w 93"/>
                <a:gd name="T17" fmla="*/ 83 h 143"/>
                <a:gd name="T18" fmla="*/ 27 w 93"/>
                <a:gd name="T19" fmla="*/ 83 h 143"/>
                <a:gd name="T20" fmla="*/ 27 w 93"/>
                <a:gd name="T21" fmla="*/ 118 h 143"/>
                <a:gd name="T22" fmla="*/ 93 w 93"/>
                <a:gd name="T23" fmla="*/ 118 h 143"/>
                <a:gd name="T24" fmla="*/ 93 w 93"/>
                <a:gd name="T25" fmla="*/ 143 h 143"/>
                <a:gd name="T26" fmla="*/ 0 w 93"/>
                <a:gd name="T27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3" h="143">
                  <a:moveTo>
                    <a:pt x="0" y="143"/>
                  </a:moveTo>
                  <a:lnTo>
                    <a:pt x="0" y="143"/>
                  </a:lnTo>
                  <a:lnTo>
                    <a:pt x="0" y="0"/>
                  </a:lnTo>
                  <a:lnTo>
                    <a:pt x="93" y="0"/>
                  </a:lnTo>
                  <a:lnTo>
                    <a:pt x="93" y="25"/>
                  </a:lnTo>
                  <a:lnTo>
                    <a:pt x="27" y="25"/>
                  </a:lnTo>
                  <a:lnTo>
                    <a:pt x="27" y="59"/>
                  </a:lnTo>
                  <a:lnTo>
                    <a:pt x="84" y="59"/>
                  </a:lnTo>
                  <a:lnTo>
                    <a:pt x="84" y="83"/>
                  </a:lnTo>
                  <a:lnTo>
                    <a:pt x="27" y="83"/>
                  </a:lnTo>
                  <a:lnTo>
                    <a:pt x="27" y="118"/>
                  </a:lnTo>
                  <a:lnTo>
                    <a:pt x="93" y="118"/>
                  </a:lnTo>
                  <a:lnTo>
                    <a:pt x="93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9" name="Freeform 47"/>
            <p:cNvSpPr>
              <a:spLocks/>
            </p:cNvSpPr>
            <p:nvPr/>
          </p:nvSpPr>
          <p:spPr bwMode="auto">
            <a:xfrm>
              <a:off x="8342313" y="-508001"/>
              <a:ext cx="71438" cy="153988"/>
            </a:xfrm>
            <a:custGeom>
              <a:avLst/>
              <a:gdLst>
                <a:gd name="T0" fmla="*/ 57 w 81"/>
                <a:gd name="T1" fmla="*/ 0 h 172"/>
                <a:gd name="T2" fmla="*/ 57 w 81"/>
                <a:gd name="T3" fmla="*/ 0 h 172"/>
                <a:gd name="T4" fmla="*/ 0 w 81"/>
                <a:gd name="T5" fmla="*/ 172 h 172"/>
                <a:gd name="T6" fmla="*/ 24 w 81"/>
                <a:gd name="T7" fmla="*/ 172 h 172"/>
                <a:gd name="T8" fmla="*/ 81 w 81"/>
                <a:gd name="T9" fmla="*/ 0 h 172"/>
                <a:gd name="T10" fmla="*/ 57 w 81"/>
                <a:gd name="T11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172">
                  <a:moveTo>
                    <a:pt x="57" y="0"/>
                  </a:moveTo>
                  <a:lnTo>
                    <a:pt x="57" y="0"/>
                  </a:lnTo>
                  <a:lnTo>
                    <a:pt x="0" y="172"/>
                  </a:lnTo>
                  <a:lnTo>
                    <a:pt x="24" y="172"/>
                  </a:lnTo>
                  <a:lnTo>
                    <a:pt x="81" y="0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0" name="Freeform 48"/>
            <p:cNvSpPr>
              <a:spLocks noEditPoints="1"/>
            </p:cNvSpPr>
            <p:nvPr/>
          </p:nvSpPr>
          <p:spPr bwMode="auto">
            <a:xfrm>
              <a:off x="8429625" y="-495301"/>
              <a:ext cx="93663" cy="128588"/>
            </a:xfrm>
            <a:custGeom>
              <a:avLst/>
              <a:gdLst>
                <a:gd name="T0" fmla="*/ 89 w 105"/>
                <a:gd name="T1" fmla="*/ 129 h 143"/>
                <a:gd name="T2" fmla="*/ 89 w 105"/>
                <a:gd name="T3" fmla="*/ 129 h 143"/>
                <a:gd name="T4" fmla="*/ 51 w 105"/>
                <a:gd name="T5" fmla="*/ 143 h 143"/>
                <a:gd name="T6" fmla="*/ 0 w 105"/>
                <a:gd name="T7" fmla="*/ 143 h 143"/>
                <a:gd name="T8" fmla="*/ 0 w 105"/>
                <a:gd name="T9" fmla="*/ 0 h 143"/>
                <a:gd name="T10" fmla="*/ 51 w 105"/>
                <a:gd name="T11" fmla="*/ 0 h 143"/>
                <a:gd name="T12" fmla="*/ 89 w 105"/>
                <a:gd name="T13" fmla="*/ 14 h 143"/>
                <a:gd name="T14" fmla="*/ 103 w 105"/>
                <a:gd name="T15" fmla="*/ 71 h 143"/>
                <a:gd name="T16" fmla="*/ 89 w 105"/>
                <a:gd name="T17" fmla="*/ 129 h 143"/>
                <a:gd name="T18" fmla="*/ 69 w 105"/>
                <a:gd name="T19" fmla="*/ 34 h 143"/>
                <a:gd name="T20" fmla="*/ 69 w 105"/>
                <a:gd name="T21" fmla="*/ 34 h 143"/>
                <a:gd name="T22" fmla="*/ 48 w 105"/>
                <a:gd name="T23" fmla="*/ 25 h 143"/>
                <a:gd name="T24" fmla="*/ 27 w 105"/>
                <a:gd name="T25" fmla="*/ 25 h 143"/>
                <a:gd name="T26" fmla="*/ 27 w 105"/>
                <a:gd name="T27" fmla="*/ 118 h 143"/>
                <a:gd name="T28" fmla="*/ 48 w 105"/>
                <a:gd name="T29" fmla="*/ 118 h 143"/>
                <a:gd name="T30" fmla="*/ 69 w 105"/>
                <a:gd name="T31" fmla="*/ 109 h 143"/>
                <a:gd name="T32" fmla="*/ 75 w 105"/>
                <a:gd name="T33" fmla="*/ 71 h 143"/>
                <a:gd name="T34" fmla="*/ 69 w 105"/>
                <a:gd name="T35" fmla="*/ 3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" h="143">
                  <a:moveTo>
                    <a:pt x="89" y="129"/>
                  </a:moveTo>
                  <a:lnTo>
                    <a:pt x="89" y="129"/>
                  </a:lnTo>
                  <a:cubicBezTo>
                    <a:pt x="79" y="138"/>
                    <a:pt x="66" y="143"/>
                    <a:pt x="51" y="143"/>
                  </a:cubicBezTo>
                  <a:lnTo>
                    <a:pt x="0" y="143"/>
                  </a:lnTo>
                  <a:lnTo>
                    <a:pt x="0" y="0"/>
                  </a:lnTo>
                  <a:lnTo>
                    <a:pt x="51" y="0"/>
                  </a:lnTo>
                  <a:cubicBezTo>
                    <a:pt x="66" y="0"/>
                    <a:pt x="79" y="5"/>
                    <a:pt x="89" y="14"/>
                  </a:cubicBezTo>
                  <a:cubicBezTo>
                    <a:pt x="105" y="30"/>
                    <a:pt x="103" y="50"/>
                    <a:pt x="103" y="71"/>
                  </a:cubicBezTo>
                  <a:cubicBezTo>
                    <a:pt x="103" y="92"/>
                    <a:pt x="105" y="113"/>
                    <a:pt x="89" y="129"/>
                  </a:cubicBezTo>
                  <a:close/>
                  <a:moveTo>
                    <a:pt x="69" y="34"/>
                  </a:moveTo>
                  <a:lnTo>
                    <a:pt x="69" y="34"/>
                  </a:lnTo>
                  <a:cubicBezTo>
                    <a:pt x="64" y="28"/>
                    <a:pt x="58" y="25"/>
                    <a:pt x="48" y="25"/>
                  </a:cubicBezTo>
                  <a:lnTo>
                    <a:pt x="27" y="25"/>
                  </a:lnTo>
                  <a:lnTo>
                    <a:pt x="27" y="118"/>
                  </a:lnTo>
                  <a:lnTo>
                    <a:pt x="48" y="118"/>
                  </a:lnTo>
                  <a:cubicBezTo>
                    <a:pt x="58" y="118"/>
                    <a:pt x="64" y="115"/>
                    <a:pt x="69" y="109"/>
                  </a:cubicBezTo>
                  <a:cubicBezTo>
                    <a:pt x="74" y="103"/>
                    <a:pt x="75" y="93"/>
                    <a:pt x="75" y="71"/>
                  </a:cubicBezTo>
                  <a:cubicBezTo>
                    <a:pt x="75" y="49"/>
                    <a:pt x="74" y="40"/>
                    <a:pt x="69" y="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1" name="Freeform 49"/>
            <p:cNvSpPr>
              <a:spLocks/>
            </p:cNvSpPr>
            <p:nvPr/>
          </p:nvSpPr>
          <p:spPr bwMode="auto">
            <a:xfrm>
              <a:off x="8545513" y="-495301"/>
              <a:ext cx="25400" cy="128588"/>
            </a:xfrm>
            <a:custGeom>
              <a:avLst/>
              <a:gdLst>
                <a:gd name="T0" fmla="*/ 0 w 27"/>
                <a:gd name="T1" fmla="*/ 0 h 143"/>
                <a:gd name="T2" fmla="*/ 0 w 27"/>
                <a:gd name="T3" fmla="*/ 0 h 143"/>
                <a:gd name="T4" fmla="*/ 27 w 27"/>
                <a:gd name="T5" fmla="*/ 0 h 143"/>
                <a:gd name="T6" fmla="*/ 27 w 27"/>
                <a:gd name="T7" fmla="*/ 143 h 143"/>
                <a:gd name="T8" fmla="*/ 0 w 27"/>
                <a:gd name="T9" fmla="*/ 143 h 143"/>
                <a:gd name="T10" fmla="*/ 0 w 27"/>
                <a:gd name="T11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143">
                  <a:moveTo>
                    <a:pt x="0" y="0"/>
                  </a:moveTo>
                  <a:lnTo>
                    <a:pt x="0" y="0"/>
                  </a:lnTo>
                  <a:lnTo>
                    <a:pt x="27" y="0"/>
                  </a:lnTo>
                  <a:lnTo>
                    <a:pt x="27" y="143"/>
                  </a:lnTo>
                  <a:lnTo>
                    <a:pt x="0" y="14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2" name="Freeform 50"/>
            <p:cNvSpPr>
              <a:spLocks/>
            </p:cNvSpPr>
            <p:nvPr/>
          </p:nvSpPr>
          <p:spPr bwMode="auto">
            <a:xfrm>
              <a:off x="8589963" y="-496888"/>
              <a:ext cx="92075" cy="130175"/>
            </a:xfrm>
            <a:custGeom>
              <a:avLst/>
              <a:gdLst>
                <a:gd name="T0" fmla="*/ 52 w 104"/>
                <a:gd name="T1" fmla="*/ 145 h 145"/>
                <a:gd name="T2" fmla="*/ 52 w 104"/>
                <a:gd name="T3" fmla="*/ 145 h 145"/>
                <a:gd name="T4" fmla="*/ 0 w 104"/>
                <a:gd name="T5" fmla="*/ 126 h 145"/>
                <a:gd name="T6" fmla="*/ 18 w 104"/>
                <a:gd name="T7" fmla="*/ 108 h 145"/>
                <a:gd name="T8" fmla="*/ 52 w 104"/>
                <a:gd name="T9" fmla="*/ 120 h 145"/>
                <a:gd name="T10" fmla="*/ 77 w 104"/>
                <a:gd name="T11" fmla="*/ 102 h 145"/>
                <a:gd name="T12" fmla="*/ 73 w 104"/>
                <a:gd name="T13" fmla="*/ 90 h 145"/>
                <a:gd name="T14" fmla="*/ 60 w 104"/>
                <a:gd name="T15" fmla="*/ 85 h 145"/>
                <a:gd name="T16" fmla="*/ 43 w 104"/>
                <a:gd name="T17" fmla="*/ 83 h 145"/>
                <a:gd name="T18" fmla="*/ 15 w 104"/>
                <a:gd name="T19" fmla="*/ 71 h 145"/>
                <a:gd name="T20" fmla="*/ 5 w 104"/>
                <a:gd name="T21" fmla="*/ 43 h 145"/>
                <a:gd name="T22" fmla="*/ 55 w 104"/>
                <a:gd name="T23" fmla="*/ 0 h 145"/>
                <a:gd name="T24" fmla="*/ 101 w 104"/>
                <a:gd name="T25" fmla="*/ 17 h 145"/>
                <a:gd name="T26" fmla="*/ 83 w 104"/>
                <a:gd name="T27" fmla="*/ 34 h 145"/>
                <a:gd name="T28" fmla="*/ 54 w 104"/>
                <a:gd name="T29" fmla="*/ 24 h 145"/>
                <a:gd name="T30" fmla="*/ 32 w 104"/>
                <a:gd name="T31" fmla="*/ 42 h 145"/>
                <a:gd name="T32" fmla="*/ 36 w 104"/>
                <a:gd name="T33" fmla="*/ 52 h 145"/>
                <a:gd name="T34" fmla="*/ 49 w 104"/>
                <a:gd name="T35" fmla="*/ 58 h 145"/>
                <a:gd name="T36" fmla="*/ 66 w 104"/>
                <a:gd name="T37" fmla="*/ 60 h 145"/>
                <a:gd name="T38" fmla="*/ 93 w 104"/>
                <a:gd name="T39" fmla="*/ 71 h 145"/>
                <a:gd name="T40" fmla="*/ 104 w 104"/>
                <a:gd name="T41" fmla="*/ 102 h 145"/>
                <a:gd name="T42" fmla="*/ 52 w 104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4" h="145">
                  <a:moveTo>
                    <a:pt x="52" y="145"/>
                  </a:moveTo>
                  <a:lnTo>
                    <a:pt x="52" y="145"/>
                  </a:lnTo>
                  <a:cubicBezTo>
                    <a:pt x="30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39" y="120"/>
                    <a:pt x="52" y="120"/>
                  </a:cubicBezTo>
                  <a:cubicBezTo>
                    <a:pt x="68" y="120"/>
                    <a:pt x="77" y="114"/>
                    <a:pt x="77" y="102"/>
                  </a:cubicBezTo>
                  <a:cubicBezTo>
                    <a:pt x="77" y="97"/>
                    <a:pt x="76" y="93"/>
                    <a:pt x="73" y="90"/>
                  </a:cubicBezTo>
                  <a:cubicBezTo>
                    <a:pt x="70" y="88"/>
                    <a:pt x="67" y="86"/>
                    <a:pt x="60" y="85"/>
                  </a:cubicBezTo>
                  <a:lnTo>
                    <a:pt x="43" y="83"/>
                  </a:lnTo>
                  <a:cubicBezTo>
                    <a:pt x="31" y="81"/>
                    <a:pt x="22" y="77"/>
                    <a:pt x="15" y="71"/>
                  </a:cubicBezTo>
                  <a:cubicBezTo>
                    <a:pt x="9" y="65"/>
                    <a:pt x="5" y="55"/>
                    <a:pt x="5" y="43"/>
                  </a:cubicBezTo>
                  <a:cubicBezTo>
                    <a:pt x="5" y="18"/>
                    <a:pt x="24" y="0"/>
                    <a:pt x="55" y="0"/>
                  </a:cubicBezTo>
                  <a:cubicBezTo>
                    <a:pt x="74" y="0"/>
                    <a:pt x="89" y="5"/>
                    <a:pt x="101" y="17"/>
                  </a:cubicBezTo>
                  <a:lnTo>
                    <a:pt x="83" y="34"/>
                  </a:lnTo>
                  <a:cubicBezTo>
                    <a:pt x="74" y="26"/>
                    <a:pt x="63" y="24"/>
                    <a:pt x="54" y="24"/>
                  </a:cubicBezTo>
                  <a:cubicBezTo>
                    <a:pt x="39" y="24"/>
                    <a:pt x="32" y="32"/>
                    <a:pt x="32" y="42"/>
                  </a:cubicBezTo>
                  <a:cubicBezTo>
                    <a:pt x="32" y="46"/>
                    <a:pt x="33" y="50"/>
                    <a:pt x="36" y="52"/>
                  </a:cubicBezTo>
                  <a:cubicBezTo>
                    <a:pt x="39" y="55"/>
                    <a:pt x="44" y="57"/>
                    <a:pt x="49" y="58"/>
                  </a:cubicBezTo>
                  <a:lnTo>
                    <a:pt x="66" y="60"/>
                  </a:lnTo>
                  <a:cubicBezTo>
                    <a:pt x="79" y="62"/>
                    <a:pt x="87" y="66"/>
                    <a:pt x="93" y="71"/>
                  </a:cubicBezTo>
                  <a:cubicBezTo>
                    <a:pt x="101" y="79"/>
                    <a:pt x="104" y="89"/>
                    <a:pt x="104" y="102"/>
                  </a:cubicBezTo>
                  <a:cubicBezTo>
                    <a:pt x="104" y="129"/>
                    <a:pt x="81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3" name="Freeform 51"/>
            <p:cNvSpPr>
              <a:spLocks noEditPoints="1"/>
            </p:cNvSpPr>
            <p:nvPr/>
          </p:nvSpPr>
          <p:spPr bwMode="auto">
            <a:xfrm>
              <a:off x="8704263" y="-495301"/>
              <a:ext cx="92075" cy="128588"/>
            </a:xfrm>
            <a:custGeom>
              <a:avLst/>
              <a:gdLst>
                <a:gd name="T0" fmla="*/ 55 w 102"/>
                <a:gd name="T1" fmla="*/ 89 h 143"/>
                <a:gd name="T2" fmla="*/ 55 w 102"/>
                <a:gd name="T3" fmla="*/ 89 h 143"/>
                <a:gd name="T4" fmla="*/ 27 w 102"/>
                <a:gd name="T5" fmla="*/ 89 h 143"/>
                <a:gd name="T6" fmla="*/ 27 w 102"/>
                <a:gd name="T7" fmla="*/ 143 h 143"/>
                <a:gd name="T8" fmla="*/ 0 w 102"/>
                <a:gd name="T9" fmla="*/ 143 h 143"/>
                <a:gd name="T10" fmla="*/ 0 w 102"/>
                <a:gd name="T11" fmla="*/ 0 h 143"/>
                <a:gd name="T12" fmla="*/ 55 w 102"/>
                <a:gd name="T13" fmla="*/ 0 h 143"/>
                <a:gd name="T14" fmla="*/ 102 w 102"/>
                <a:gd name="T15" fmla="*/ 45 h 143"/>
                <a:gd name="T16" fmla="*/ 55 w 102"/>
                <a:gd name="T17" fmla="*/ 89 h 143"/>
                <a:gd name="T18" fmla="*/ 53 w 102"/>
                <a:gd name="T19" fmla="*/ 25 h 143"/>
                <a:gd name="T20" fmla="*/ 53 w 102"/>
                <a:gd name="T21" fmla="*/ 25 h 143"/>
                <a:gd name="T22" fmla="*/ 27 w 102"/>
                <a:gd name="T23" fmla="*/ 25 h 143"/>
                <a:gd name="T24" fmla="*/ 27 w 102"/>
                <a:gd name="T25" fmla="*/ 64 h 143"/>
                <a:gd name="T26" fmla="*/ 53 w 102"/>
                <a:gd name="T27" fmla="*/ 64 h 143"/>
                <a:gd name="T28" fmla="*/ 74 w 102"/>
                <a:gd name="T29" fmla="*/ 45 h 143"/>
                <a:gd name="T30" fmla="*/ 53 w 102"/>
                <a:gd name="T31" fmla="*/ 2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2" h="143">
                  <a:moveTo>
                    <a:pt x="55" y="89"/>
                  </a:moveTo>
                  <a:lnTo>
                    <a:pt x="55" y="89"/>
                  </a:lnTo>
                  <a:lnTo>
                    <a:pt x="27" y="89"/>
                  </a:lnTo>
                  <a:lnTo>
                    <a:pt x="27" y="143"/>
                  </a:lnTo>
                  <a:lnTo>
                    <a:pt x="0" y="143"/>
                  </a:lnTo>
                  <a:lnTo>
                    <a:pt x="0" y="0"/>
                  </a:lnTo>
                  <a:lnTo>
                    <a:pt x="55" y="0"/>
                  </a:lnTo>
                  <a:cubicBezTo>
                    <a:pt x="84" y="0"/>
                    <a:pt x="102" y="20"/>
                    <a:pt x="102" y="45"/>
                  </a:cubicBezTo>
                  <a:cubicBezTo>
                    <a:pt x="102" y="69"/>
                    <a:pt x="84" y="89"/>
                    <a:pt x="55" y="89"/>
                  </a:cubicBezTo>
                  <a:close/>
                  <a:moveTo>
                    <a:pt x="53" y="25"/>
                  </a:moveTo>
                  <a:lnTo>
                    <a:pt x="53" y="25"/>
                  </a:lnTo>
                  <a:lnTo>
                    <a:pt x="27" y="25"/>
                  </a:lnTo>
                  <a:lnTo>
                    <a:pt x="27" y="64"/>
                  </a:lnTo>
                  <a:lnTo>
                    <a:pt x="53" y="64"/>
                  </a:lnTo>
                  <a:cubicBezTo>
                    <a:pt x="66" y="64"/>
                    <a:pt x="74" y="56"/>
                    <a:pt x="74" y="45"/>
                  </a:cubicBezTo>
                  <a:cubicBezTo>
                    <a:pt x="74" y="33"/>
                    <a:pt x="66" y="25"/>
                    <a:pt x="53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4" name="Freeform 52"/>
            <p:cNvSpPr>
              <a:spLocks noEditPoints="1"/>
            </p:cNvSpPr>
            <p:nvPr/>
          </p:nvSpPr>
          <p:spPr bwMode="auto">
            <a:xfrm>
              <a:off x="8813800" y="-496888"/>
              <a:ext cx="93663" cy="130175"/>
            </a:xfrm>
            <a:custGeom>
              <a:avLst/>
              <a:gdLst>
                <a:gd name="T0" fmla="*/ 91 w 106"/>
                <a:gd name="T1" fmla="*/ 129 h 145"/>
                <a:gd name="T2" fmla="*/ 91 w 106"/>
                <a:gd name="T3" fmla="*/ 129 h 145"/>
                <a:gd name="T4" fmla="*/ 53 w 106"/>
                <a:gd name="T5" fmla="*/ 145 h 145"/>
                <a:gd name="T6" fmla="*/ 14 w 106"/>
                <a:gd name="T7" fmla="*/ 129 h 145"/>
                <a:gd name="T8" fmla="*/ 0 w 106"/>
                <a:gd name="T9" fmla="*/ 72 h 145"/>
                <a:gd name="T10" fmla="*/ 14 w 106"/>
                <a:gd name="T11" fmla="*/ 16 h 145"/>
                <a:gd name="T12" fmla="*/ 53 w 106"/>
                <a:gd name="T13" fmla="*/ 0 h 145"/>
                <a:gd name="T14" fmla="*/ 91 w 106"/>
                <a:gd name="T15" fmla="*/ 16 h 145"/>
                <a:gd name="T16" fmla="*/ 105 w 106"/>
                <a:gd name="T17" fmla="*/ 72 h 145"/>
                <a:gd name="T18" fmla="*/ 91 w 106"/>
                <a:gd name="T19" fmla="*/ 129 h 145"/>
                <a:gd name="T20" fmla="*/ 71 w 106"/>
                <a:gd name="T21" fmla="*/ 32 h 145"/>
                <a:gd name="T22" fmla="*/ 71 w 106"/>
                <a:gd name="T23" fmla="*/ 32 h 145"/>
                <a:gd name="T24" fmla="*/ 53 w 106"/>
                <a:gd name="T25" fmla="*/ 25 h 145"/>
                <a:gd name="T26" fmla="*/ 35 w 106"/>
                <a:gd name="T27" fmla="*/ 32 h 145"/>
                <a:gd name="T28" fmla="*/ 28 w 106"/>
                <a:gd name="T29" fmla="*/ 72 h 145"/>
                <a:gd name="T30" fmla="*/ 35 w 106"/>
                <a:gd name="T31" fmla="*/ 112 h 145"/>
                <a:gd name="T32" fmla="*/ 53 w 106"/>
                <a:gd name="T33" fmla="*/ 120 h 145"/>
                <a:gd name="T34" fmla="*/ 71 w 106"/>
                <a:gd name="T35" fmla="*/ 112 h 145"/>
                <a:gd name="T36" fmla="*/ 78 w 106"/>
                <a:gd name="T37" fmla="*/ 72 h 145"/>
                <a:gd name="T38" fmla="*/ 71 w 106"/>
                <a:gd name="T39" fmla="*/ 32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6" h="145">
                  <a:moveTo>
                    <a:pt x="91" y="129"/>
                  </a:moveTo>
                  <a:lnTo>
                    <a:pt x="91" y="129"/>
                  </a:lnTo>
                  <a:cubicBezTo>
                    <a:pt x="81" y="139"/>
                    <a:pt x="69" y="145"/>
                    <a:pt x="53" y="145"/>
                  </a:cubicBezTo>
                  <a:cubicBezTo>
                    <a:pt x="37" y="145"/>
                    <a:pt x="24" y="139"/>
                    <a:pt x="14" y="129"/>
                  </a:cubicBezTo>
                  <a:cubicBezTo>
                    <a:pt x="0" y="115"/>
                    <a:pt x="0" y="97"/>
                    <a:pt x="0" y="72"/>
                  </a:cubicBezTo>
                  <a:cubicBezTo>
                    <a:pt x="0" y="48"/>
                    <a:pt x="0" y="30"/>
                    <a:pt x="14" y="16"/>
                  </a:cubicBezTo>
                  <a:cubicBezTo>
                    <a:pt x="24" y="6"/>
                    <a:pt x="37" y="0"/>
                    <a:pt x="53" y="0"/>
                  </a:cubicBezTo>
                  <a:cubicBezTo>
                    <a:pt x="69" y="0"/>
                    <a:pt x="81" y="6"/>
                    <a:pt x="91" y="16"/>
                  </a:cubicBezTo>
                  <a:cubicBezTo>
                    <a:pt x="106" y="30"/>
                    <a:pt x="105" y="48"/>
                    <a:pt x="105" y="72"/>
                  </a:cubicBezTo>
                  <a:cubicBezTo>
                    <a:pt x="105" y="97"/>
                    <a:pt x="106" y="115"/>
                    <a:pt x="91" y="129"/>
                  </a:cubicBezTo>
                  <a:close/>
                  <a:moveTo>
                    <a:pt x="71" y="32"/>
                  </a:moveTo>
                  <a:lnTo>
                    <a:pt x="71" y="32"/>
                  </a:lnTo>
                  <a:cubicBezTo>
                    <a:pt x="67" y="28"/>
                    <a:pt x="60" y="25"/>
                    <a:pt x="53" y="25"/>
                  </a:cubicBezTo>
                  <a:cubicBezTo>
                    <a:pt x="45" y="25"/>
                    <a:pt x="39" y="28"/>
                    <a:pt x="35" y="32"/>
                  </a:cubicBezTo>
                  <a:cubicBezTo>
                    <a:pt x="29" y="38"/>
                    <a:pt x="28" y="45"/>
                    <a:pt x="28" y="72"/>
                  </a:cubicBezTo>
                  <a:cubicBezTo>
                    <a:pt x="28" y="100"/>
                    <a:pt x="29" y="106"/>
                    <a:pt x="35" y="112"/>
                  </a:cubicBezTo>
                  <a:cubicBezTo>
                    <a:pt x="39" y="117"/>
                    <a:pt x="45" y="120"/>
                    <a:pt x="53" y="120"/>
                  </a:cubicBezTo>
                  <a:cubicBezTo>
                    <a:pt x="60" y="120"/>
                    <a:pt x="67" y="117"/>
                    <a:pt x="71" y="112"/>
                  </a:cubicBezTo>
                  <a:cubicBezTo>
                    <a:pt x="76" y="106"/>
                    <a:pt x="78" y="100"/>
                    <a:pt x="78" y="72"/>
                  </a:cubicBezTo>
                  <a:cubicBezTo>
                    <a:pt x="78" y="45"/>
                    <a:pt x="76" y="38"/>
                    <a:pt x="71" y="3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5" name="Freeform 53"/>
            <p:cNvSpPr>
              <a:spLocks/>
            </p:cNvSpPr>
            <p:nvPr/>
          </p:nvSpPr>
          <p:spPr bwMode="auto">
            <a:xfrm>
              <a:off x="8921750" y="-496888"/>
              <a:ext cx="93663" cy="130175"/>
            </a:xfrm>
            <a:custGeom>
              <a:avLst/>
              <a:gdLst>
                <a:gd name="T0" fmla="*/ 52 w 105"/>
                <a:gd name="T1" fmla="*/ 145 h 145"/>
                <a:gd name="T2" fmla="*/ 52 w 105"/>
                <a:gd name="T3" fmla="*/ 145 h 145"/>
                <a:gd name="T4" fmla="*/ 0 w 105"/>
                <a:gd name="T5" fmla="*/ 126 h 145"/>
                <a:gd name="T6" fmla="*/ 18 w 105"/>
                <a:gd name="T7" fmla="*/ 108 h 145"/>
                <a:gd name="T8" fmla="*/ 53 w 105"/>
                <a:gd name="T9" fmla="*/ 120 h 145"/>
                <a:gd name="T10" fmla="*/ 78 w 105"/>
                <a:gd name="T11" fmla="*/ 102 h 145"/>
                <a:gd name="T12" fmla="*/ 74 w 105"/>
                <a:gd name="T13" fmla="*/ 90 h 145"/>
                <a:gd name="T14" fmla="*/ 61 w 105"/>
                <a:gd name="T15" fmla="*/ 85 h 145"/>
                <a:gd name="T16" fmla="*/ 44 w 105"/>
                <a:gd name="T17" fmla="*/ 83 h 145"/>
                <a:gd name="T18" fmla="*/ 16 w 105"/>
                <a:gd name="T19" fmla="*/ 71 h 145"/>
                <a:gd name="T20" fmla="*/ 6 w 105"/>
                <a:gd name="T21" fmla="*/ 43 h 145"/>
                <a:gd name="T22" fmla="*/ 56 w 105"/>
                <a:gd name="T23" fmla="*/ 0 h 145"/>
                <a:gd name="T24" fmla="*/ 102 w 105"/>
                <a:gd name="T25" fmla="*/ 17 h 145"/>
                <a:gd name="T26" fmla="*/ 84 w 105"/>
                <a:gd name="T27" fmla="*/ 34 h 145"/>
                <a:gd name="T28" fmla="*/ 55 w 105"/>
                <a:gd name="T29" fmla="*/ 24 h 145"/>
                <a:gd name="T30" fmla="*/ 33 w 105"/>
                <a:gd name="T31" fmla="*/ 42 h 145"/>
                <a:gd name="T32" fmla="*/ 37 w 105"/>
                <a:gd name="T33" fmla="*/ 52 h 145"/>
                <a:gd name="T34" fmla="*/ 50 w 105"/>
                <a:gd name="T35" fmla="*/ 58 h 145"/>
                <a:gd name="T36" fmla="*/ 67 w 105"/>
                <a:gd name="T37" fmla="*/ 60 h 145"/>
                <a:gd name="T38" fmla="*/ 94 w 105"/>
                <a:gd name="T39" fmla="*/ 71 h 145"/>
                <a:gd name="T40" fmla="*/ 105 w 105"/>
                <a:gd name="T41" fmla="*/ 102 h 145"/>
                <a:gd name="T42" fmla="*/ 52 w 105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5" h="145">
                  <a:moveTo>
                    <a:pt x="52" y="145"/>
                  </a:moveTo>
                  <a:lnTo>
                    <a:pt x="52" y="145"/>
                  </a:lnTo>
                  <a:cubicBezTo>
                    <a:pt x="31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40" y="120"/>
                    <a:pt x="53" y="120"/>
                  </a:cubicBezTo>
                  <a:cubicBezTo>
                    <a:pt x="69" y="120"/>
                    <a:pt x="78" y="114"/>
                    <a:pt x="78" y="102"/>
                  </a:cubicBezTo>
                  <a:cubicBezTo>
                    <a:pt x="78" y="97"/>
                    <a:pt x="77" y="93"/>
                    <a:pt x="74" y="90"/>
                  </a:cubicBezTo>
                  <a:cubicBezTo>
                    <a:pt x="71" y="88"/>
                    <a:pt x="68" y="86"/>
                    <a:pt x="61" y="85"/>
                  </a:cubicBezTo>
                  <a:lnTo>
                    <a:pt x="44" y="83"/>
                  </a:lnTo>
                  <a:cubicBezTo>
                    <a:pt x="32" y="81"/>
                    <a:pt x="23" y="77"/>
                    <a:pt x="16" y="71"/>
                  </a:cubicBezTo>
                  <a:cubicBezTo>
                    <a:pt x="9" y="65"/>
                    <a:pt x="6" y="55"/>
                    <a:pt x="6" y="43"/>
                  </a:cubicBezTo>
                  <a:cubicBezTo>
                    <a:pt x="6" y="18"/>
                    <a:pt x="25" y="0"/>
                    <a:pt x="56" y="0"/>
                  </a:cubicBezTo>
                  <a:cubicBezTo>
                    <a:pt x="75" y="0"/>
                    <a:pt x="89" y="5"/>
                    <a:pt x="102" y="17"/>
                  </a:cubicBezTo>
                  <a:lnTo>
                    <a:pt x="84" y="34"/>
                  </a:lnTo>
                  <a:cubicBezTo>
                    <a:pt x="75" y="26"/>
                    <a:pt x="64" y="24"/>
                    <a:pt x="55" y="24"/>
                  </a:cubicBezTo>
                  <a:cubicBezTo>
                    <a:pt x="40" y="24"/>
                    <a:pt x="33" y="32"/>
                    <a:pt x="33" y="42"/>
                  </a:cubicBezTo>
                  <a:cubicBezTo>
                    <a:pt x="33" y="46"/>
                    <a:pt x="34" y="50"/>
                    <a:pt x="37" y="52"/>
                  </a:cubicBezTo>
                  <a:cubicBezTo>
                    <a:pt x="40" y="55"/>
                    <a:pt x="44" y="57"/>
                    <a:pt x="50" y="58"/>
                  </a:cubicBezTo>
                  <a:lnTo>
                    <a:pt x="67" y="60"/>
                  </a:lnTo>
                  <a:cubicBezTo>
                    <a:pt x="80" y="62"/>
                    <a:pt x="88" y="66"/>
                    <a:pt x="94" y="71"/>
                  </a:cubicBezTo>
                  <a:cubicBezTo>
                    <a:pt x="102" y="79"/>
                    <a:pt x="105" y="89"/>
                    <a:pt x="105" y="102"/>
                  </a:cubicBezTo>
                  <a:cubicBezTo>
                    <a:pt x="105" y="129"/>
                    <a:pt x="82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6" name="Freeform 54"/>
            <p:cNvSpPr>
              <a:spLocks noEditPoints="1"/>
            </p:cNvSpPr>
            <p:nvPr/>
          </p:nvSpPr>
          <p:spPr bwMode="auto">
            <a:xfrm>
              <a:off x="9024938" y="-495301"/>
              <a:ext cx="112713" cy="128588"/>
            </a:xfrm>
            <a:custGeom>
              <a:avLst/>
              <a:gdLst>
                <a:gd name="T0" fmla="*/ 97 w 126"/>
                <a:gd name="T1" fmla="*/ 143 h 143"/>
                <a:gd name="T2" fmla="*/ 97 w 126"/>
                <a:gd name="T3" fmla="*/ 143 h 143"/>
                <a:gd name="T4" fmla="*/ 89 w 126"/>
                <a:gd name="T5" fmla="*/ 117 h 143"/>
                <a:gd name="T6" fmla="*/ 38 w 126"/>
                <a:gd name="T7" fmla="*/ 117 h 143"/>
                <a:gd name="T8" fmla="*/ 29 w 126"/>
                <a:gd name="T9" fmla="*/ 143 h 143"/>
                <a:gd name="T10" fmla="*/ 0 w 126"/>
                <a:gd name="T11" fmla="*/ 143 h 143"/>
                <a:gd name="T12" fmla="*/ 52 w 126"/>
                <a:gd name="T13" fmla="*/ 0 h 143"/>
                <a:gd name="T14" fmla="*/ 74 w 126"/>
                <a:gd name="T15" fmla="*/ 0 h 143"/>
                <a:gd name="T16" fmla="*/ 126 w 126"/>
                <a:gd name="T17" fmla="*/ 143 h 143"/>
                <a:gd name="T18" fmla="*/ 97 w 126"/>
                <a:gd name="T19" fmla="*/ 143 h 143"/>
                <a:gd name="T20" fmla="*/ 64 w 126"/>
                <a:gd name="T21" fmla="*/ 42 h 143"/>
                <a:gd name="T22" fmla="*/ 64 w 126"/>
                <a:gd name="T23" fmla="*/ 42 h 143"/>
                <a:gd name="T24" fmla="*/ 46 w 126"/>
                <a:gd name="T25" fmla="*/ 94 h 143"/>
                <a:gd name="T26" fmla="*/ 81 w 126"/>
                <a:gd name="T27" fmla="*/ 94 h 143"/>
                <a:gd name="T28" fmla="*/ 64 w 126"/>
                <a:gd name="T29" fmla="*/ 4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6" h="143">
                  <a:moveTo>
                    <a:pt x="97" y="143"/>
                  </a:moveTo>
                  <a:lnTo>
                    <a:pt x="97" y="143"/>
                  </a:lnTo>
                  <a:lnTo>
                    <a:pt x="89" y="117"/>
                  </a:lnTo>
                  <a:lnTo>
                    <a:pt x="38" y="117"/>
                  </a:lnTo>
                  <a:lnTo>
                    <a:pt x="29" y="143"/>
                  </a:lnTo>
                  <a:lnTo>
                    <a:pt x="0" y="143"/>
                  </a:lnTo>
                  <a:lnTo>
                    <a:pt x="52" y="0"/>
                  </a:lnTo>
                  <a:lnTo>
                    <a:pt x="74" y="0"/>
                  </a:lnTo>
                  <a:lnTo>
                    <a:pt x="126" y="143"/>
                  </a:lnTo>
                  <a:lnTo>
                    <a:pt x="97" y="143"/>
                  </a:lnTo>
                  <a:close/>
                  <a:moveTo>
                    <a:pt x="64" y="42"/>
                  </a:moveTo>
                  <a:lnTo>
                    <a:pt x="64" y="42"/>
                  </a:lnTo>
                  <a:lnTo>
                    <a:pt x="46" y="94"/>
                  </a:lnTo>
                  <a:lnTo>
                    <a:pt x="81" y="94"/>
                  </a:lnTo>
                  <a:lnTo>
                    <a:pt x="64" y="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7" name="Freeform 55"/>
            <p:cNvSpPr>
              <a:spLocks/>
            </p:cNvSpPr>
            <p:nvPr/>
          </p:nvSpPr>
          <p:spPr bwMode="auto">
            <a:xfrm>
              <a:off x="9155113" y="-495301"/>
              <a:ext cx="82550" cy="128588"/>
            </a:xfrm>
            <a:custGeom>
              <a:avLst/>
              <a:gdLst>
                <a:gd name="T0" fmla="*/ 0 w 92"/>
                <a:gd name="T1" fmla="*/ 0 h 143"/>
                <a:gd name="T2" fmla="*/ 0 w 92"/>
                <a:gd name="T3" fmla="*/ 0 h 143"/>
                <a:gd name="T4" fmla="*/ 0 w 92"/>
                <a:gd name="T5" fmla="*/ 143 h 143"/>
                <a:gd name="T6" fmla="*/ 92 w 92"/>
                <a:gd name="T7" fmla="*/ 143 h 143"/>
                <a:gd name="T8" fmla="*/ 92 w 92"/>
                <a:gd name="T9" fmla="*/ 118 h 143"/>
                <a:gd name="T10" fmla="*/ 28 w 92"/>
                <a:gd name="T11" fmla="*/ 118 h 143"/>
                <a:gd name="T12" fmla="*/ 28 w 92"/>
                <a:gd name="T13" fmla="*/ 0 h 143"/>
                <a:gd name="T14" fmla="*/ 0 w 92"/>
                <a:gd name="T1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143">
                  <a:moveTo>
                    <a:pt x="0" y="0"/>
                  </a:moveTo>
                  <a:lnTo>
                    <a:pt x="0" y="0"/>
                  </a:lnTo>
                  <a:lnTo>
                    <a:pt x="0" y="143"/>
                  </a:lnTo>
                  <a:lnTo>
                    <a:pt x="92" y="143"/>
                  </a:lnTo>
                  <a:lnTo>
                    <a:pt x="92" y="118"/>
                  </a:lnTo>
                  <a:lnTo>
                    <a:pt x="28" y="118"/>
                  </a:lnTo>
                  <a:lnTo>
                    <a:pt x="2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42" name="Reuse/Disposal"/>
          <p:cNvGrpSpPr/>
          <p:nvPr/>
        </p:nvGrpSpPr>
        <p:grpSpPr>
          <a:xfrm>
            <a:off x="7479799" y="3526618"/>
            <a:ext cx="1170319" cy="125437"/>
            <a:chOff x="7800975" y="-508001"/>
            <a:chExt cx="1436688" cy="153988"/>
          </a:xfrm>
          <a:solidFill>
            <a:schemeClr val="accent3">
              <a:lumMod val="75000"/>
            </a:schemeClr>
          </a:solidFill>
        </p:grpSpPr>
        <p:sp>
          <p:nvSpPr>
            <p:cNvPr id="330" name="Freeform 42"/>
            <p:cNvSpPr>
              <a:spLocks noEditPoints="1"/>
            </p:cNvSpPr>
            <p:nvPr/>
          </p:nvSpPr>
          <p:spPr bwMode="auto">
            <a:xfrm>
              <a:off x="7800975" y="-495301"/>
              <a:ext cx="95250" cy="128588"/>
            </a:xfrm>
            <a:custGeom>
              <a:avLst/>
              <a:gdLst>
                <a:gd name="T0" fmla="*/ 76 w 108"/>
                <a:gd name="T1" fmla="*/ 143 h 143"/>
                <a:gd name="T2" fmla="*/ 76 w 108"/>
                <a:gd name="T3" fmla="*/ 143 h 143"/>
                <a:gd name="T4" fmla="*/ 48 w 108"/>
                <a:gd name="T5" fmla="*/ 86 h 143"/>
                <a:gd name="T6" fmla="*/ 28 w 108"/>
                <a:gd name="T7" fmla="*/ 86 h 143"/>
                <a:gd name="T8" fmla="*/ 28 w 108"/>
                <a:gd name="T9" fmla="*/ 143 h 143"/>
                <a:gd name="T10" fmla="*/ 0 w 108"/>
                <a:gd name="T11" fmla="*/ 143 h 143"/>
                <a:gd name="T12" fmla="*/ 0 w 108"/>
                <a:gd name="T13" fmla="*/ 0 h 143"/>
                <a:gd name="T14" fmla="*/ 56 w 108"/>
                <a:gd name="T15" fmla="*/ 0 h 143"/>
                <a:gd name="T16" fmla="*/ 102 w 108"/>
                <a:gd name="T17" fmla="*/ 44 h 143"/>
                <a:gd name="T18" fmla="*/ 76 w 108"/>
                <a:gd name="T19" fmla="*/ 81 h 143"/>
                <a:gd name="T20" fmla="*/ 108 w 108"/>
                <a:gd name="T21" fmla="*/ 143 h 143"/>
                <a:gd name="T22" fmla="*/ 76 w 108"/>
                <a:gd name="T23" fmla="*/ 143 h 143"/>
                <a:gd name="T24" fmla="*/ 54 w 108"/>
                <a:gd name="T25" fmla="*/ 25 h 143"/>
                <a:gd name="T26" fmla="*/ 54 w 108"/>
                <a:gd name="T27" fmla="*/ 25 h 143"/>
                <a:gd name="T28" fmla="*/ 28 w 108"/>
                <a:gd name="T29" fmla="*/ 25 h 143"/>
                <a:gd name="T30" fmla="*/ 28 w 108"/>
                <a:gd name="T31" fmla="*/ 63 h 143"/>
                <a:gd name="T32" fmla="*/ 54 w 108"/>
                <a:gd name="T33" fmla="*/ 63 h 143"/>
                <a:gd name="T34" fmla="*/ 74 w 108"/>
                <a:gd name="T35" fmla="*/ 44 h 143"/>
                <a:gd name="T36" fmla="*/ 54 w 108"/>
                <a:gd name="T37" fmla="*/ 2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8" h="143">
                  <a:moveTo>
                    <a:pt x="76" y="143"/>
                  </a:moveTo>
                  <a:lnTo>
                    <a:pt x="76" y="143"/>
                  </a:lnTo>
                  <a:lnTo>
                    <a:pt x="48" y="86"/>
                  </a:lnTo>
                  <a:lnTo>
                    <a:pt x="28" y="86"/>
                  </a:lnTo>
                  <a:lnTo>
                    <a:pt x="28" y="143"/>
                  </a:lnTo>
                  <a:lnTo>
                    <a:pt x="0" y="143"/>
                  </a:lnTo>
                  <a:lnTo>
                    <a:pt x="0" y="0"/>
                  </a:lnTo>
                  <a:lnTo>
                    <a:pt x="56" y="0"/>
                  </a:lnTo>
                  <a:cubicBezTo>
                    <a:pt x="85" y="0"/>
                    <a:pt x="102" y="20"/>
                    <a:pt x="102" y="44"/>
                  </a:cubicBezTo>
                  <a:cubicBezTo>
                    <a:pt x="102" y="64"/>
                    <a:pt x="90" y="76"/>
                    <a:pt x="76" y="81"/>
                  </a:cubicBezTo>
                  <a:lnTo>
                    <a:pt x="108" y="143"/>
                  </a:lnTo>
                  <a:lnTo>
                    <a:pt x="76" y="143"/>
                  </a:lnTo>
                  <a:close/>
                  <a:moveTo>
                    <a:pt x="54" y="25"/>
                  </a:moveTo>
                  <a:lnTo>
                    <a:pt x="54" y="25"/>
                  </a:lnTo>
                  <a:lnTo>
                    <a:pt x="28" y="25"/>
                  </a:lnTo>
                  <a:lnTo>
                    <a:pt x="28" y="63"/>
                  </a:lnTo>
                  <a:lnTo>
                    <a:pt x="54" y="63"/>
                  </a:lnTo>
                  <a:cubicBezTo>
                    <a:pt x="66" y="63"/>
                    <a:pt x="74" y="55"/>
                    <a:pt x="74" y="44"/>
                  </a:cubicBezTo>
                  <a:cubicBezTo>
                    <a:pt x="74" y="33"/>
                    <a:pt x="66" y="25"/>
                    <a:pt x="54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1" name="Freeform 43"/>
            <p:cNvSpPr>
              <a:spLocks/>
            </p:cNvSpPr>
            <p:nvPr/>
          </p:nvSpPr>
          <p:spPr bwMode="auto">
            <a:xfrm>
              <a:off x="7916863" y="-495301"/>
              <a:ext cx="84138" cy="128588"/>
            </a:xfrm>
            <a:custGeom>
              <a:avLst/>
              <a:gdLst>
                <a:gd name="T0" fmla="*/ 0 w 94"/>
                <a:gd name="T1" fmla="*/ 143 h 143"/>
                <a:gd name="T2" fmla="*/ 0 w 94"/>
                <a:gd name="T3" fmla="*/ 143 h 143"/>
                <a:gd name="T4" fmla="*/ 0 w 94"/>
                <a:gd name="T5" fmla="*/ 0 h 143"/>
                <a:gd name="T6" fmla="*/ 94 w 94"/>
                <a:gd name="T7" fmla="*/ 0 h 143"/>
                <a:gd name="T8" fmla="*/ 94 w 94"/>
                <a:gd name="T9" fmla="*/ 25 h 143"/>
                <a:gd name="T10" fmla="*/ 28 w 94"/>
                <a:gd name="T11" fmla="*/ 25 h 143"/>
                <a:gd name="T12" fmla="*/ 28 w 94"/>
                <a:gd name="T13" fmla="*/ 59 h 143"/>
                <a:gd name="T14" fmla="*/ 84 w 94"/>
                <a:gd name="T15" fmla="*/ 59 h 143"/>
                <a:gd name="T16" fmla="*/ 84 w 94"/>
                <a:gd name="T17" fmla="*/ 83 h 143"/>
                <a:gd name="T18" fmla="*/ 28 w 94"/>
                <a:gd name="T19" fmla="*/ 83 h 143"/>
                <a:gd name="T20" fmla="*/ 28 w 94"/>
                <a:gd name="T21" fmla="*/ 118 h 143"/>
                <a:gd name="T22" fmla="*/ 94 w 94"/>
                <a:gd name="T23" fmla="*/ 118 h 143"/>
                <a:gd name="T24" fmla="*/ 94 w 94"/>
                <a:gd name="T25" fmla="*/ 143 h 143"/>
                <a:gd name="T26" fmla="*/ 0 w 94"/>
                <a:gd name="T27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4" h="143">
                  <a:moveTo>
                    <a:pt x="0" y="143"/>
                  </a:moveTo>
                  <a:lnTo>
                    <a:pt x="0" y="143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25"/>
                  </a:lnTo>
                  <a:lnTo>
                    <a:pt x="28" y="25"/>
                  </a:lnTo>
                  <a:lnTo>
                    <a:pt x="28" y="59"/>
                  </a:lnTo>
                  <a:lnTo>
                    <a:pt x="84" y="59"/>
                  </a:lnTo>
                  <a:lnTo>
                    <a:pt x="84" y="83"/>
                  </a:lnTo>
                  <a:lnTo>
                    <a:pt x="28" y="83"/>
                  </a:lnTo>
                  <a:lnTo>
                    <a:pt x="28" y="118"/>
                  </a:lnTo>
                  <a:lnTo>
                    <a:pt x="94" y="118"/>
                  </a:lnTo>
                  <a:lnTo>
                    <a:pt x="94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2" name="Freeform 44"/>
            <p:cNvSpPr>
              <a:spLocks/>
            </p:cNvSpPr>
            <p:nvPr/>
          </p:nvSpPr>
          <p:spPr bwMode="auto">
            <a:xfrm>
              <a:off x="8021638" y="-495301"/>
              <a:ext cx="93663" cy="128588"/>
            </a:xfrm>
            <a:custGeom>
              <a:avLst/>
              <a:gdLst>
                <a:gd name="T0" fmla="*/ 53 w 105"/>
                <a:gd name="T1" fmla="*/ 144 h 144"/>
                <a:gd name="T2" fmla="*/ 53 w 105"/>
                <a:gd name="T3" fmla="*/ 144 h 144"/>
                <a:gd name="T4" fmla="*/ 0 w 105"/>
                <a:gd name="T5" fmla="*/ 94 h 144"/>
                <a:gd name="T6" fmla="*/ 0 w 105"/>
                <a:gd name="T7" fmla="*/ 0 h 144"/>
                <a:gd name="T8" fmla="*/ 28 w 105"/>
                <a:gd name="T9" fmla="*/ 0 h 144"/>
                <a:gd name="T10" fmla="*/ 28 w 105"/>
                <a:gd name="T11" fmla="*/ 93 h 144"/>
                <a:gd name="T12" fmla="*/ 53 w 105"/>
                <a:gd name="T13" fmla="*/ 119 h 144"/>
                <a:gd name="T14" fmla="*/ 77 w 105"/>
                <a:gd name="T15" fmla="*/ 93 h 144"/>
                <a:gd name="T16" fmla="*/ 77 w 105"/>
                <a:gd name="T17" fmla="*/ 0 h 144"/>
                <a:gd name="T18" fmla="*/ 105 w 105"/>
                <a:gd name="T19" fmla="*/ 0 h 144"/>
                <a:gd name="T20" fmla="*/ 105 w 105"/>
                <a:gd name="T21" fmla="*/ 94 h 144"/>
                <a:gd name="T22" fmla="*/ 53 w 105"/>
                <a:gd name="T23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5" h="144">
                  <a:moveTo>
                    <a:pt x="53" y="144"/>
                  </a:moveTo>
                  <a:lnTo>
                    <a:pt x="53" y="144"/>
                  </a:lnTo>
                  <a:cubicBezTo>
                    <a:pt x="23" y="144"/>
                    <a:pt x="0" y="124"/>
                    <a:pt x="0" y="94"/>
                  </a:cubicBezTo>
                  <a:lnTo>
                    <a:pt x="0" y="0"/>
                  </a:lnTo>
                  <a:lnTo>
                    <a:pt x="28" y="0"/>
                  </a:lnTo>
                  <a:lnTo>
                    <a:pt x="28" y="93"/>
                  </a:lnTo>
                  <a:cubicBezTo>
                    <a:pt x="28" y="109"/>
                    <a:pt x="38" y="119"/>
                    <a:pt x="53" y="119"/>
                  </a:cubicBezTo>
                  <a:cubicBezTo>
                    <a:pt x="68" y="119"/>
                    <a:pt x="77" y="109"/>
                    <a:pt x="77" y="93"/>
                  </a:cubicBezTo>
                  <a:lnTo>
                    <a:pt x="77" y="0"/>
                  </a:lnTo>
                  <a:lnTo>
                    <a:pt x="105" y="0"/>
                  </a:lnTo>
                  <a:lnTo>
                    <a:pt x="105" y="94"/>
                  </a:lnTo>
                  <a:cubicBezTo>
                    <a:pt x="105" y="124"/>
                    <a:pt x="82" y="144"/>
                    <a:pt x="53" y="14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3" name="Freeform 45"/>
            <p:cNvSpPr>
              <a:spLocks/>
            </p:cNvSpPr>
            <p:nvPr/>
          </p:nvSpPr>
          <p:spPr bwMode="auto">
            <a:xfrm>
              <a:off x="8131175" y="-496888"/>
              <a:ext cx="92075" cy="130175"/>
            </a:xfrm>
            <a:custGeom>
              <a:avLst/>
              <a:gdLst>
                <a:gd name="T0" fmla="*/ 52 w 104"/>
                <a:gd name="T1" fmla="*/ 145 h 145"/>
                <a:gd name="T2" fmla="*/ 52 w 104"/>
                <a:gd name="T3" fmla="*/ 145 h 145"/>
                <a:gd name="T4" fmla="*/ 0 w 104"/>
                <a:gd name="T5" fmla="*/ 126 h 145"/>
                <a:gd name="T6" fmla="*/ 18 w 104"/>
                <a:gd name="T7" fmla="*/ 108 h 145"/>
                <a:gd name="T8" fmla="*/ 52 w 104"/>
                <a:gd name="T9" fmla="*/ 120 h 145"/>
                <a:gd name="T10" fmla="*/ 77 w 104"/>
                <a:gd name="T11" fmla="*/ 102 h 145"/>
                <a:gd name="T12" fmla="*/ 73 w 104"/>
                <a:gd name="T13" fmla="*/ 90 h 145"/>
                <a:gd name="T14" fmla="*/ 60 w 104"/>
                <a:gd name="T15" fmla="*/ 85 h 145"/>
                <a:gd name="T16" fmla="*/ 43 w 104"/>
                <a:gd name="T17" fmla="*/ 83 h 145"/>
                <a:gd name="T18" fmla="*/ 15 w 104"/>
                <a:gd name="T19" fmla="*/ 71 h 145"/>
                <a:gd name="T20" fmla="*/ 5 w 104"/>
                <a:gd name="T21" fmla="*/ 43 h 145"/>
                <a:gd name="T22" fmla="*/ 55 w 104"/>
                <a:gd name="T23" fmla="*/ 0 h 145"/>
                <a:gd name="T24" fmla="*/ 101 w 104"/>
                <a:gd name="T25" fmla="*/ 17 h 145"/>
                <a:gd name="T26" fmla="*/ 83 w 104"/>
                <a:gd name="T27" fmla="*/ 34 h 145"/>
                <a:gd name="T28" fmla="*/ 54 w 104"/>
                <a:gd name="T29" fmla="*/ 24 h 145"/>
                <a:gd name="T30" fmla="*/ 32 w 104"/>
                <a:gd name="T31" fmla="*/ 42 h 145"/>
                <a:gd name="T32" fmla="*/ 36 w 104"/>
                <a:gd name="T33" fmla="*/ 52 h 145"/>
                <a:gd name="T34" fmla="*/ 49 w 104"/>
                <a:gd name="T35" fmla="*/ 58 h 145"/>
                <a:gd name="T36" fmla="*/ 66 w 104"/>
                <a:gd name="T37" fmla="*/ 60 h 145"/>
                <a:gd name="T38" fmla="*/ 93 w 104"/>
                <a:gd name="T39" fmla="*/ 71 h 145"/>
                <a:gd name="T40" fmla="*/ 104 w 104"/>
                <a:gd name="T41" fmla="*/ 102 h 145"/>
                <a:gd name="T42" fmla="*/ 52 w 104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4" h="145">
                  <a:moveTo>
                    <a:pt x="52" y="145"/>
                  </a:moveTo>
                  <a:lnTo>
                    <a:pt x="52" y="145"/>
                  </a:lnTo>
                  <a:cubicBezTo>
                    <a:pt x="30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39" y="120"/>
                    <a:pt x="52" y="120"/>
                  </a:cubicBezTo>
                  <a:cubicBezTo>
                    <a:pt x="68" y="120"/>
                    <a:pt x="77" y="114"/>
                    <a:pt x="77" y="102"/>
                  </a:cubicBezTo>
                  <a:cubicBezTo>
                    <a:pt x="77" y="97"/>
                    <a:pt x="76" y="93"/>
                    <a:pt x="73" y="90"/>
                  </a:cubicBezTo>
                  <a:cubicBezTo>
                    <a:pt x="70" y="88"/>
                    <a:pt x="67" y="86"/>
                    <a:pt x="60" y="85"/>
                  </a:cubicBezTo>
                  <a:lnTo>
                    <a:pt x="43" y="83"/>
                  </a:lnTo>
                  <a:cubicBezTo>
                    <a:pt x="31" y="81"/>
                    <a:pt x="22" y="77"/>
                    <a:pt x="15" y="71"/>
                  </a:cubicBezTo>
                  <a:cubicBezTo>
                    <a:pt x="9" y="65"/>
                    <a:pt x="5" y="55"/>
                    <a:pt x="5" y="43"/>
                  </a:cubicBezTo>
                  <a:cubicBezTo>
                    <a:pt x="5" y="18"/>
                    <a:pt x="24" y="0"/>
                    <a:pt x="55" y="0"/>
                  </a:cubicBezTo>
                  <a:cubicBezTo>
                    <a:pt x="74" y="0"/>
                    <a:pt x="89" y="5"/>
                    <a:pt x="101" y="17"/>
                  </a:cubicBezTo>
                  <a:lnTo>
                    <a:pt x="83" y="34"/>
                  </a:lnTo>
                  <a:cubicBezTo>
                    <a:pt x="74" y="26"/>
                    <a:pt x="63" y="24"/>
                    <a:pt x="54" y="24"/>
                  </a:cubicBezTo>
                  <a:cubicBezTo>
                    <a:pt x="39" y="24"/>
                    <a:pt x="32" y="32"/>
                    <a:pt x="32" y="42"/>
                  </a:cubicBezTo>
                  <a:cubicBezTo>
                    <a:pt x="32" y="46"/>
                    <a:pt x="33" y="50"/>
                    <a:pt x="36" y="52"/>
                  </a:cubicBezTo>
                  <a:cubicBezTo>
                    <a:pt x="39" y="55"/>
                    <a:pt x="44" y="57"/>
                    <a:pt x="49" y="58"/>
                  </a:cubicBezTo>
                  <a:lnTo>
                    <a:pt x="66" y="60"/>
                  </a:lnTo>
                  <a:cubicBezTo>
                    <a:pt x="79" y="62"/>
                    <a:pt x="87" y="66"/>
                    <a:pt x="93" y="71"/>
                  </a:cubicBezTo>
                  <a:cubicBezTo>
                    <a:pt x="101" y="79"/>
                    <a:pt x="104" y="89"/>
                    <a:pt x="104" y="102"/>
                  </a:cubicBezTo>
                  <a:cubicBezTo>
                    <a:pt x="104" y="129"/>
                    <a:pt x="81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4" name="Freeform 46"/>
            <p:cNvSpPr>
              <a:spLocks/>
            </p:cNvSpPr>
            <p:nvPr/>
          </p:nvSpPr>
          <p:spPr bwMode="auto">
            <a:xfrm>
              <a:off x="8245475" y="-495301"/>
              <a:ext cx="84138" cy="128588"/>
            </a:xfrm>
            <a:custGeom>
              <a:avLst/>
              <a:gdLst>
                <a:gd name="T0" fmla="*/ 0 w 93"/>
                <a:gd name="T1" fmla="*/ 143 h 143"/>
                <a:gd name="T2" fmla="*/ 0 w 93"/>
                <a:gd name="T3" fmla="*/ 143 h 143"/>
                <a:gd name="T4" fmla="*/ 0 w 93"/>
                <a:gd name="T5" fmla="*/ 0 h 143"/>
                <a:gd name="T6" fmla="*/ 93 w 93"/>
                <a:gd name="T7" fmla="*/ 0 h 143"/>
                <a:gd name="T8" fmla="*/ 93 w 93"/>
                <a:gd name="T9" fmla="*/ 25 h 143"/>
                <a:gd name="T10" fmla="*/ 27 w 93"/>
                <a:gd name="T11" fmla="*/ 25 h 143"/>
                <a:gd name="T12" fmla="*/ 27 w 93"/>
                <a:gd name="T13" fmla="*/ 59 h 143"/>
                <a:gd name="T14" fmla="*/ 84 w 93"/>
                <a:gd name="T15" fmla="*/ 59 h 143"/>
                <a:gd name="T16" fmla="*/ 84 w 93"/>
                <a:gd name="T17" fmla="*/ 83 h 143"/>
                <a:gd name="T18" fmla="*/ 27 w 93"/>
                <a:gd name="T19" fmla="*/ 83 h 143"/>
                <a:gd name="T20" fmla="*/ 27 w 93"/>
                <a:gd name="T21" fmla="*/ 118 h 143"/>
                <a:gd name="T22" fmla="*/ 93 w 93"/>
                <a:gd name="T23" fmla="*/ 118 h 143"/>
                <a:gd name="T24" fmla="*/ 93 w 93"/>
                <a:gd name="T25" fmla="*/ 143 h 143"/>
                <a:gd name="T26" fmla="*/ 0 w 93"/>
                <a:gd name="T27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3" h="143">
                  <a:moveTo>
                    <a:pt x="0" y="143"/>
                  </a:moveTo>
                  <a:lnTo>
                    <a:pt x="0" y="143"/>
                  </a:lnTo>
                  <a:lnTo>
                    <a:pt x="0" y="0"/>
                  </a:lnTo>
                  <a:lnTo>
                    <a:pt x="93" y="0"/>
                  </a:lnTo>
                  <a:lnTo>
                    <a:pt x="93" y="25"/>
                  </a:lnTo>
                  <a:lnTo>
                    <a:pt x="27" y="25"/>
                  </a:lnTo>
                  <a:lnTo>
                    <a:pt x="27" y="59"/>
                  </a:lnTo>
                  <a:lnTo>
                    <a:pt x="84" y="59"/>
                  </a:lnTo>
                  <a:lnTo>
                    <a:pt x="84" y="83"/>
                  </a:lnTo>
                  <a:lnTo>
                    <a:pt x="27" y="83"/>
                  </a:lnTo>
                  <a:lnTo>
                    <a:pt x="27" y="118"/>
                  </a:lnTo>
                  <a:lnTo>
                    <a:pt x="93" y="118"/>
                  </a:lnTo>
                  <a:lnTo>
                    <a:pt x="93" y="143"/>
                  </a:lnTo>
                  <a:lnTo>
                    <a:pt x="0" y="14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5" name="Freeform 47"/>
            <p:cNvSpPr>
              <a:spLocks/>
            </p:cNvSpPr>
            <p:nvPr/>
          </p:nvSpPr>
          <p:spPr bwMode="auto">
            <a:xfrm>
              <a:off x="8342313" y="-508001"/>
              <a:ext cx="71438" cy="153988"/>
            </a:xfrm>
            <a:custGeom>
              <a:avLst/>
              <a:gdLst>
                <a:gd name="T0" fmla="*/ 57 w 81"/>
                <a:gd name="T1" fmla="*/ 0 h 172"/>
                <a:gd name="T2" fmla="*/ 57 w 81"/>
                <a:gd name="T3" fmla="*/ 0 h 172"/>
                <a:gd name="T4" fmla="*/ 0 w 81"/>
                <a:gd name="T5" fmla="*/ 172 h 172"/>
                <a:gd name="T6" fmla="*/ 24 w 81"/>
                <a:gd name="T7" fmla="*/ 172 h 172"/>
                <a:gd name="T8" fmla="*/ 81 w 81"/>
                <a:gd name="T9" fmla="*/ 0 h 172"/>
                <a:gd name="T10" fmla="*/ 57 w 81"/>
                <a:gd name="T11" fmla="*/ 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1" h="172">
                  <a:moveTo>
                    <a:pt x="57" y="0"/>
                  </a:moveTo>
                  <a:lnTo>
                    <a:pt x="57" y="0"/>
                  </a:lnTo>
                  <a:lnTo>
                    <a:pt x="0" y="172"/>
                  </a:lnTo>
                  <a:lnTo>
                    <a:pt x="24" y="172"/>
                  </a:lnTo>
                  <a:lnTo>
                    <a:pt x="81" y="0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6" name="Freeform 48"/>
            <p:cNvSpPr>
              <a:spLocks noEditPoints="1"/>
            </p:cNvSpPr>
            <p:nvPr/>
          </p:nvSpPr>
          <p:spPr bwMode="auto">
            <a:xfrm>
              <a:off x="8429625" y="-495301"/>
              <a:ext cx="93663" cy="128588"/>
            </a:xfrm>
            <a:custGeom>
              <a:avLst/>
              <a:gdLst>
                <a:gd name="T0" fmla="*/ 89 w 105"/>
                <a:gd name="T1" fmla="*/ 129 h 143"/>
                <a:gd name="T2" fmla="*/ 89 w 105"/>
                <a:gd name="T3" fmla="*/ 129 h 143"/>
                <a:gd name="T4" fmla="*/ 51 w 105"/>
                <a:gd name="T5" fmla="*/ 143 h 143"/>
                <a:gd name="T6" fmla="*/ 0 w 105"/>
                <a:gd name="T7" fmla="*/ 143 h 143"/>
                <a:gd name="T8" fmla="*/ 0 w 105"/>
                <a:gd name="T9" fmla="*/ 0 h 143"/>
                <a:gd name="T10" fmla="*/ 51 w 105"/>
                <a:gd name="T11" fmla="*/ 0 h 143"/>
                <a:gd name="T12" fmla="*/ 89 w 105"/>
                <a:gd name="T13" fmla="*/ 14 h 143"/>
                <a:gd name="T14" fmla="*/ 103 w 105"/>
                <a:gd name="T15" fmla="*/ 71 h 143"/>
                <a:gd name="T16" fmla="*/ 89 w 105"/>
                <a:gd name="T17" fmla="*/ 129 h 143"/>
                <a:gd name="T18" fmla="*/ 69 w 105"/>
                <a:gd name="T19" fmla="*/ 34 h 143"/>
                <a:gd name="T20" fmla="*/ 69 w 105"/>
                <a:gd name="T21" fmla="*/ 34 h 143"/>
                <a:gd name="T22" fmla="*/ 48 w 105"/>
                <a:gd name="T23" fmla="*/ 25 h 143"/>
                <a:gd name="T24" fmla="*/ 27 w 105"/>
                <a:gd name="T25" fmla="*/ 25 h 143"/>
                <a:gd name="T26" fmla="*/ 27 w 105"/>
                <a:gd name="T27" fmla="*/ 118 h 143"/>
                <a:gd name="T28" fmla="*/ 48 w 105"/>
                <a:gd name="T29" fmla="*/ 118 h 143"/>
                <a:gd name="T30" fmla="*/ 69 w 105"/>
                <a:gd name="T31" fmla="*/ 109 h 143"/>
                <a:gd name="T32" fmla="*/ 75 w 105"/>
                <a:gd name="T33" fmla="*/ 71 h 143"/>
                <a:gd name="T34" fmla="*/ 69 w 105"/>
                <a:gd name="T35" fmla="*/ 3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5" h="143">
                  <a:moveTo>
                    <a:pt x="89" y="129"/>
                  </a:moveTo>
                  <a:lnTo>
                    <a:pt x="89" y="129"/>
                  </a:lnTo>
                  <a:cubicBezTo>
                    <a:pt x="79" y="138"/>
                    <a:pt x="66" y="143"/>
                    <a:pt x="51" y="143"/>
                  </a:cubicBezTo>
                  <a:lnTo>
                    <a:pt x="0" y="143"/>
                  </a:lnTo>
                  <a:lnTo>
                    <a:pt x="0" y="0"/>
                  </a:lnTo>
                  <a:lnTo>
                    <a:pt x="51" y="0"/>
                  </a:lnTo>
                  <a:cubicBezTo>
                    <a:pt x="66" y="0"/>
                    <a:pt x="79" y="5"/>
                    <a:pt x="89" y="14"/>
                  </a:cubicBezTo>
                  <a:cubicBezTo>
                    <a:pt x="105" y="30"/>
                    <a:pt x="103" y="50"/>
                    <a:pt x="103" y="71"/>
                  </a:cubicBezTo>
                  <a:cubicBezTo>
                    <a:pt x="103" y="92"/>
                    <a:pt x="105" y="113"/>
                    <a:pt x="89" y="129"/>
                  </a:cubicBezTo>
                  <a:close/>
                  <a:moveTo>
                    <a:pt x="69" y="34"/>
                  </a:moveTo>
                  <a:lnTo>
                    <a:pt x="69" y="34"/>
                  </a:lnTo>
                  <a:cubicBezTo>
                    <a:pt x="64" y="28"/>
                    <a:pt x="58" y="25"/>
                    <a:pt x="48" y="25"/>
                  </a:cubicBezTo>
                  <a:lnTo>
                    <a:pt x="27" y="25"/>
                  </a:lnTo>
                  <a:lnTo>
                    <a:pt x="27" y="118"/>
                  </a:lnTo>
                  <a:lnTo>
                    <a:pt x="48" y="118"/>
                  </a:lnTo>
                  <a:cubicBezTo>
                    <a:pt x="58" y="118"/>
                    <a:pt x="64" y="115"/>
                    <a:pt x="69" y="109"/>
                  </a:cubicBezTo>
                  <a:cubicBezTo>
                    <a:pt x="74" y="103"/>
                    <a:pt x="75" y="93"/>
                    <a:pt x="75" y="71"/>
                  </a:cubicBezTo>
                  <a:cubicBezTo>
                    <a:pt x="75" y="49"/>
                    <a:pt x="74" y="40"/>
                    <a:pt x="69" y="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7" name="Freeform 49"/>
            <p:cNvSpPr>
              <a:spLocks/>
            </p:cNvSpPr>
            <p:nvPr/>
          </p:nvSpPr>
          <p:spPr bwMode="auto">
            <a:xfrm>
              <a:off x="8545513" y="-495301"/>
              <a:ext cx="25400" cy="128588"/>
            </a:xfrm>
            <a:custGeom>
              <a:avLst/>
              <a:gdLst>
                <a:gd name="T0" fmla="*/ 0 w 27"/>
                <a:gd name="T1" fmla="*/ 0 h 143"/>
                <a:gd name="T2" fmla="*/ 0 w 27"/>
                <a:gd name="T3" fmla="*/ 0 h 143"/>
                <a:gd name="T4" fmla="*/ 27 w 27"/>
                <a:gd name="T5" fmla="*/ 0 h 143"/>
                <a:gd name="T6" fmla="*/ 27 w 27"/>
                <a:gd name="T7" fmla="*/ 143 h 143"/>
                <a:gd name="T8" fmla="*/ 0 w 27"/>
                <a:gd name="T9" fmla="*/ 143 h 143"/>
                <a:gd name="T10" fmla="*/ 0 w 27"/>
                <a:gd name="T11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143">
                  <a:moveTo>
                    <a:pt x="0" y="0"/>
                  </a:moveTo>
                  <a:lnTo>
                    <a:pt x="0" y="0"/>
                  </a:lnTo>
                  <a:lnTo>
                    <a:pt x="27" y="0"/>
                  </a:lnTo>
                  <a:lnTo>
                    <a:pt x="27" y="143"/>
                  </a:lnTo>
                  <a:lnTo>
                    <a:pt x="0" y="14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8" name="Freeform 50"/>
            <p:cNvSpPr>
              <a:spLocks/>
            </p:cNvSpPr>
            <p:nvPr/>
          </p:nvSpPr>
          <p:spPr bwMode="auto">
            <a:xfrm>
              <a:off x="8589963" y="-496888"/>
              <a:ext cx="92075" cy="130175"/>
            </a:xfrm>
            <a:custGeom>
              <a:avLst/>
              <a:gdLst>
                <a:gd name="T0" fmla="*/ 52 w 104"/>
                <a:gd name="T1" fmla="*/ 145 h 145"/>
                <a:gd name="T2" fmla="*/ 52 w 104"/>
                <a:gd name="T3" fmla="*/ 145 h 145"/>
                <a:gd name="T4" fmla="*/ 0 w 104"/>
                <a:gd name="T5" fmla="*/ 126 h 145"/>
                <a:gd name="T6" fmla="*/ 18 w 104"/>
                <a:gd name="T7" fmla="*/ 108 h 145"/>
                <a:gd name="T8" fmla="*/ 52 w 104"/>
                <a:gd name="T9" fmla="*/ 120 h 145"/>
                <a:gd name="T10" fmla="*/ 77 w 104"/>
                <a:gd name="T11" fmla="*/ 102 h 145"/>
                <a:gd name="T12" fmla="*/ 73 w 104"/>
                <a:gd name="T13" fmla="*/ 90 h 145"/>
                <a:gd name="T14" fmla="*/ 60 w 104"/>
                <a:gd name="T15" fmla="*/ 85 h 145"/>
                <a:gd name="T16" fmla="*/ 43 w 104"/>
                <a:gd name="T17" fmla="*/ 83 h 145"/>
                <a:gd name="T18" fmla="*/ 15 w 104"/>
                <a:gd name="T19" fmla="*/ 71 h 145"/>
                <a:gd name="T20" fmla="*/ 5 w 104"/>
                <a:gd name="T21" fmla="*/ 43 h 145"/>
                <a:gd name="T22" fmla="*/ 55 w 104"/>
                <a:gd name="T23" fmla="*/ 0 h 145"/>
                <a:gd name="T24" fmla="*/ 101 w 104"/>
                <a:gd name="T25" fmla="*/ 17 h 145"/>
                <a:gd name="T26" fmla="*/ 83 w 104"/>
                <a:gd name="T27" fmla="*/ 34 h 145"/>
                <a:gd name="T28" fmla="*/ 54 w 104"/>
                <a:gd name="T29" fmla="*/ 24 h 145"/>
                <a:gd name="T30" fmla="*/ 32 w 104"/>
                <a:gd name="T31" fmla="*/ 42 h 145"/>
                <a:gd name="T32" fmla="*/ 36 w 104"/>
                <a:gd name="T33" fmla="*/ 52 h 145"/>
                <a:gd name="T34" fmla="*/ 49 w 104"/>
                <a:gd name="T35" fmla="*/ 58 h 145"/>
                <a:gd name="T36" fmla="*/ 66 w 104"/>
                <a:gd name="T37" fmla="*/ 60 h 145"/>
                <a:gd name="T38" fmla="*/ 93 w 104"/>
                <a:gd name="T39" fmla="*/ 71 h 145"/>
                <a:gd name="T40" fmla="*/ 104 w 104"/>
                <a:gd name="T41" fmla="*/ 102 h 145"/>
                <a:gd name="T42" fmla="*/ 52 w 104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4" h="145">
                  <a:moveTo>
                    <a:pt x="52" y="145"/>
                  </a:moveTo>
                  <a:lnTo>
                    <a:pt x="52" y="145"/>
                  </a:lnTo>
                  <a:cubicBezTo>
                    <a:pt x="30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39" y="120"/>
                    <a:pt x="52" y="120"/>
                  </a:cubicBezTo>
                  <a:cubicBezTo>
                    <a:pt x="68" y="120"/>
                    <a:pt x="77" y="114"/>
                    <a:pt x="77" y="102"/>
                  </a:cubicBezTo>
                  <a:cubicBezTo>
                    <a:pt x="77" y="97"/>
                    <a:pt x="76" y="93"/>
                    <a:pt x="73" y="90"/>
                  </a:cubicBezTo>
                  <a:cubicBezTo>
                    <a:pt x="70" y="88"/>
                    <a:pt x="67" y="86"/>
                    <a:pt x="60" y="85"/>
                  </a:cubicBezTo>
                  <a:lnTo>
                    <a:pt x="43" y="83"/>
                  </a:lnTo>
                  <a:cubicBezTo>
                    <a:pt x="31" y="81"/>
                    <a:pt x="22" y="77"/>
                    <a:pt x="15" y="71"/>
                  </a:cubicBezTo>
                  <a:cubicBezTo>
                    <a:pt x="9" y="65"/>
                    <a:pt x="5" y="55"/>
                    <a:pt x="5" y="43"/>
                  </a:cubicBezTo>
                  <a:cubicBezTo>
                    <a:pt x="5" y="18"/>
                    <a:pt x="24" y="0"/>
                    <a:pt x="55" y="0"/>
                  </a:cubicBezTo>
                  <a:cubicBezTo>
                    <a:pt x="74" y="0"/>
                    <a:pt x="89" y="5"/>
                    <a:pt x="101" y="17"/>
                  </a:cubicBezTo>
                  <a:lnTo>
                    <a:pt x="83" y="34"/>
                  </a:lnTo>
                  <a:cubicBezTo>
                    <a:pt x="74" y="26"/>
                    <a:pt x="63" y="24"/>
                    <a:pt x="54" y="24"/>
                  </a:cubicBezTo>
                  <a:cubicBezTo>
                    <a:pt x="39" y="24"/>
                    <a:pt x="32" y="32"/>
                    <a:pt x="32" y="42"/>
                  </a:cubicBezTo>
                  <a:cubicBezTo>
                    <a:pt x="32" y="46"/>
                    <a:pt x="33" y="50"/>
                    <a:pt x="36" y="52"/>
                  </a:cubicBezTo>
                  <a:cubicBezTo>
                    <a:pt x="39" y="55"/>
                    <a:pt x="44" y="57"/>
                    <a:pt x="49" y="58"/>
                  </a:cubicBezTo>
                  <a:lnTo>
                    <a:pt x="66" y="60"/>
                  </a:lnTo>
                  <a:cubicBezTo>
                    <a:pt x="79" y="62"/>
                    <a:pt x="87" y="66"/>
                    <a:pt x="93" y="71"/>
                  </a:cubicBezTo>
                  <a:cubicBezTo>
                    <a:pt x="101" y="79"/>
                    <a:pt x="104" y="89"/>
                    <a:pt x="104" y="102"/>
                  </a:cubicBezTo>
                  <a:cubicBezTo>
                    <a:pt x="104" y="129"/>
                    <a:pt x="81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9" name="Freeform 51"/>
            <p:cNvSpPr>
              <a:spLocks noEditPoints="1"/>
            </p:cNvSpPr>
            <p:nvPr/>
          </p:nvSpPr>
          <p:spPr bwMode="auto">
            <a:xfrm>
              <a:off x="8704263" y="-495301"/>
              <a:ext cx="92075" cy="128588"/>
            </a:xfrm>
            <a:custGeom>
              <a:avLst/>
              <a:gdLst>
                <a:gd name="T0" fmla="*/ 55 w 102"/>
                <a:gd name="T1" fmla="*/ 89 h 143"/>
                <a:gd name="T2" fmla="*/ 55 w 102"/>
                <a:gd name="T3" fmla="*/ 89 h 143"/>
                <a:gd name="T4" fmla="*/ 27 w 102"/>
                <a:gd name="T5" fmla="*/ 89 h 143"/>
                <a:gd name="T6" fmla="*/ 27 w 102"/>
                <a:gd name="T7" fmla="*/ 143 h 143"/>
                <a:gd name="T8" fmla="*/ 0 w 102"/>
                <a:gd name="T9" fmla="*/ 143 h 143"/>
                <a:gd name="T10" fmla="*/ 0 w 102"/>
                <a:gd name="T11" fmla="*/ 0 h 143"/>
                <a:gd name="T12" fmla="*/ 55 w 102"/>
                <a:gd name="T13" fmla="*/ 0 h 143"/>
                <a:gd name="T14" fmla="*/ 102 w 102"/>
                <a:gd name="T15" fmla="*/ 45 h 143"/>
                <a:gd name="T16" fmla="*/ 55 w 102"/>
                <a:gd name="T17" fmla="*/ 89 h 143"/>
                <a:gd name="T18" fmla="*/ 53 w 102"/>
                <a:gd name="T19" fmla="*/ 25 h 143"/>
                <a:gd name="T20" fmla="*/ 53 w 102"/>
                <a:gd name="T21" fmla="*/ 25 h 143"/>
                <a:gd name="T22" fmla="*/ 27 w 102"/>
                <a:gd name="T23" fmla="*/ 25 h 143"/>
                <a:gd name="T24" fmla="*/ 27 w 102"/>
                <a:gd name="T25" fmla="*/ 64 h 143"/>
                <a:gd name="T26" fmla="*/ 53 w 102"/>
                <a:gd name="T27" fmla="*/ 64 h 143"/>
                <a:gd name="T28" fmla="*/ 74 w 102"/>
                <a:gd name="T29" fmla="*/ 45 h 143"/>
                <a:gd name="T30" fmla="*/ 53 w 102"/>
                <a:gd name="T31" fmla="*/ 25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2" h="143">
                  <a:moveTo>
                    <a:pt x="55" y="89"/>
                  </a:moveTo>
                  <a:lnTo>
                    <a:pt x="55" y="89"/>
                  </a:lnTo>
                  <a:lnTo>
                    <a:pt x="27" y="89"/>
                  </a:lnTo>
                  <a:lnTo>
                    <a:pt x="27" y="143"/>
                  </a:lnTo>
                  <a:lnTo>
                    <a:pt x="0" y="143"/>
                  </a:lnTo>
                  <a:lnTo>
                    <a:pt x="0" y="0"/>
                  </a:lnTo>
                  <a:lnTo>
                    <a:pt x="55" y="0"/>
                  </a:lnTo>
                  <a:cubicBezTo>
                    <a:pt x="84" y="0"/>
                    <a:pt x="102" y="20"/>
                    <a:pt x="102" y="45"/>
                  </a:cubicBezTo>
                  <a:cubicBezTo>
                    <a:pt x="102" y="69"/>
                    <a:pt x="84" y="89"/>
                    <a:pt x="55" y="89"/>
                  </a:cubicBezTo>
                  <a:close/>
                  <a:moveTo>
                    <a:pt x="53" y="25"/>
                  </a:moveTo>
                  <a:lnTo>
                    <a:pt x="53" y="25"/>
                  </a:lnTo>
                  <a:lnTo>
                    <a:pt x="27" y="25"/>
                  </a:lnTo>
                  <a:lnTo>
                    <a:pt x="27" y="64"/>
                  </a:lnTo>
                  <a:lnTo>
                    <a:pt x="53" y="64"/>
                  </a:lnTo>
                  <a:cubicBezTo>
                    <a:pt x="66" y="64"/>
                    <a:pt x="74" y="56"/>
                    <a:pt x="74" y="45"/>
                  </a:cubicBezTo>
                  <a:cubicBezTo>
                    <a:pt x="74" y="33"/>
                    <a:pt x="66" y="25"/>
                    <a:pt x="53" y="2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0" name="Freeform 52"/>
            <p:cNvSpPr>
              <a:spLocks noEditPoints="1"/>
            </p:cNvSpPr>
            <p:nvPr/>
          </p:nvSpPr>
          <p:spPr bwMode="auto">
            <a:xfrm>
              <a:off x="8813800" y="-496888"/>
              <a:ext cx="93663" cy="130175"/>
            </a:xfrm>
            <a:custGeom>
              <a:avLst/>
              <a:gdLst>
                <a:gd name="T0" fmla="*/ 91 w 106"/>
                <a:gd name="T1" fmla="*/ 129 h 145"/>
                <a:gd name="T2" fmla="*/ 91 w 106"/>
                <a:gd name="T3" fmla="*/ 129 h 145"/>
                <a:gd name="T4" fmla="*/ 53 w 106"/>
                <a:gd name="T5" fmla="*/ 145 h 145"/>
                <a:gd name="T6" fmla="*/ 14 w 106"/>
                <a:gd name="T7" fmla="*/ 129 h 145"/>
                <a:gd name="T8" fmla="*/ 0 w 106"/>
                <a:gd name="T9" fmla="*/ 72 h 145"/>
                <a:gd name="T10" fmla="*/ 14 w 106"/>
                <a:gd name="T11" fmla="*/ 16 h 145"/>
                <a:gd name="T12" fmla="*/ 53 w 106"/>
                <a:gd name="T13" fmla="*/ 0 h 145"/>
                <a:gd name="T14" fmla="*/ 91 w 106"/>
                <a:gd name="T15" fmla="*/ 16 h 145"/>
                <a:gd name="T16" fmla="*/ 105 w 106"/>
                <a:gd name="T17" fmla="*/ 72 h 145"/>
                <a:gd name="T18" fmla="*/ 91 w 106"/>
                <a:gd name="T19" fmla="*/ 129 h 145"/>
                <a:gd name="T20" fmla="*/ 71 w 106"/>
                <a:gd name="T21" fmla="*/ 32 h 145"/>
                <a:gd name="T22" fmla="*/ 71 w 106"/>
                <a:gd name="T23" fmla="*/ 32 h 145"/>
                <a:gd name="T24" fmla="*/ 53 w 106"/>
                <a:gd name="T25" fmla="*/ 25 h 145"/>
                <a:gd name="T26" fmla="*/ 35 w 106"/>
                <a:gd name="T27" fmla="*/ 32 h 145"/>
                <a:gd name="T28" fmla="*/ 28 w 106"/>
                <a:gd name="T29" fmla="*/ 72 h 145"/>
                <a:gd name="T30" fmla="*/ 35 w 106"/>
                <a:gd name="T31" fmla="*/ 112 h 145"/>
                <a:gd name="T32" fmla="*/ 53 w 106"/>
                <a:gd name="T33" fmla="*/ 120 h 145"/>
                <a:gd name="T34" fmla="*/ 71 w 106"/>
                <a:gd name="T35" fmla="*/ 112 h 145"/>
                <a:gd name="T36" fmla="*/ 78 w 106"/>
                <a:gd name="T37" fmla="*/ 72 h 145"/>
                <a:gd name="T38" fmla="*/ 71 w 106"/>
                <a:gd name="T39" fmla="*/ 32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6" h="145">
                  <a:moveTo>
                    <a:pt x="91" y="129"/>
                  </a:moveTo>
                  <a:lnTo>
                    <a:pt x="91" y="129"/>
                  </a:lnTo>
                  <a:cubicBezTo>
                    <a:pt x="81" y="139"/>
                    <a:pt x="69" y="145"/>
                    <a:pt x="53" y="145"/>
                  </a:cubicBezTo>
                  <a:cubicBezTo>
                    <a:pt x="37" y="145"/>
                    <a:pt x="24" y="139"/>
                    <a:pt x="14" y="129"/>
                  </a:cubicBezTo>
                  <a:cubicBezTo>
                    <a:pt x="0" y="115"/>
                    <a:pt x="0" y="97"/>
                    <a:pt x="0" y="72"/>
                  </a:cubicBezTo>
                  <a:cubicBezTo>
                    <a:pt x="0" y="48"/>
                    <a:pt x="0" y="30"/>
                    <a:pt x="14" y="16"/>
                  </a:cubicBezTo>
                  <a:cubicBezTo>
                    <a:pt x="24" y="6"/>
                    <a:pt x="37" y="0"/>
                    <a:pt x="53" y="0"/>
                  </a:cubicBezTo>
                  <a:cubicBezTo>
                    <a:pt x="69" y="0"/>
                    <a:pt x="81" y="6"/>
                    <a:pt x="91" y="16"/>
                  </a:cubicBezTo>
                  <a:cubicBezTo>
                    <a:pt x="106" y="30"/>
                    <a:pt x="105" y="48"/>
                    <a:pt x="105" y="72"/>
                  </a:cubicBezTo>
                  <a:cubicBezTo>
                    <a:pt x="105" y="97"/>
                    <a:pt x="106" y="115"/>
                    <a:pt x="91" y="129"/>
                  </a:cubicBezTo>
                  <a:close/>
                  <a:moveTo>
                    <a:pt x="71" y="32"/>
                  </a:moveTo>
                  <a:lnTo>
                    <a:pt x="71" y="32"/>
                  </a:lnTo>
                  <a:cubicBezTo>
                    <a:pt x="67" y="28"/>
                    <a:pt x="60" y="25"/>
                    <a:pt x="53" y="25"/>
                  </a:cubicBezTo>
                  <a:cubicBezTo>
                    <a:pt x="45" y="25"/>
                    <a:pt x="39" y="28"/>
                    <a:pt x="35" y="32"/>
                  </a:cubicBezTo>
                  <a:cubicBezTo>
                    <a:pt x="29" y="38"/>
                    <a:pt x="28" y="45"/>
                    <a:pt x="28" y="72"/>
                  </a:cubicBezTo>
                  <a:cubicBezTo>
                    <a:pt x="28" y="100"/>
                    <a:pt x="29" y="106"/>
                    <a:pt x="35" y="112"/>
                  </a:cubicBezTo>
                  <a:cubicBezTo>
                    <a:pt x="39" y="117"/>
                    <a:pt x="45" y="120"/>
                    <a:pt x="53" y="120"/>
                  </a:cubicBezTo>
                  <a:cubicBezTo>
                    <a:pt x="60" y="120"/>
                    <a:pt x="67" y="117"/>
                    <a:pt x="71" y="112"/>
                  </a:cubicBezTo>
                  <a:cubicBezTo>
                    <a:pt x="76" y="106"/>
                    <a:pt x="78" y="100"/>
                    <a:pt x="78" y="72"/>
                  </a:cubicBezTo>
                  <a:cubicBezTo>
                    <a:pt x="78" y="45"/>
                    <a:pt x="76" y="38"/>
                    <a:pt x="71" y="3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1" name="Freeform 53"/>
            <p:cNvSpPr>
              <a:spLocks/>
            </p:cNvSpPr>
            <p:nvPr/>
          </p:nvSpPr>
          <p:spPr bwMode="auto">
            <a:xfrm>
              <a:off x="8921750" y="-496888"/>
              <a:ext cx="93663" cy="130175"/>
            </a:xfrm>
            <a:custGeom>
              <a:avLst/>
              <a:gdLst>
                <a:gd name="T0" fmla="*/ 52 w 105"/>
                <a:gd name="T1" fmla="*/ 145 h 145"/>
                <a:gd name="T2" fmla="*/ 52 w 105"/>
                <a:gd name="T3" fmla="*/ 145 h 145"/>
                <a:gd name="T4" fmla="*/ 0 w 105"/>
                <a:gd name="T5" fmla="*/ 126 h 145"/>
                <a:gd name="T6" fmla="*/ 18 w 105"/>
                <a:gd name="T7" fmla="*/ 108 h 145"/>
                <a:gd name="T8" fmla="*/ 53 w 105"/>
                <a:gd name="T9" fmla="*/ 120 h 145"/>
                <a:gd name="T10" fmla="*/ 78 w 105"/>
                <a:gd name="T11" fmla="*/ 102 h 145"/>
                <a:gd name="T12" fmla="*/ 74 w 105"/>
                <a:gd name="T13" fmla="*/ 90 h 145"/>
                <a:gd name="T14" fmla="*/ 61 w 105"/>
                <a:gd name="T15" fmla="*/ 85 h 145"/>
                <a:gd name="T16" fmla="*/ 44 w 105"/>
                <a:gd name="T17" fmla="*/ 83 h 145"/>
                <a:gd name="T18" fmla="*/ 16 w 105"/>
                <a:gd name="T19" fmla="*/ 71 h 145"/>
                <a:gd name="T20" fmla="*/ 6 w 105"/>
                <a:gd name="T21" fmla="*/ 43 h 145"/>
                <a:gd name="T22" fmla="*/ 56 w 105"/>
                <a:gd name="T23" fmla="*/ 0 h 145"/>
                <a:gd name="T24" fmla="*/ 102 w 105"/>
                <a:gd name="T25" fmla="*/ 17 h 145"/>
                <a:gd name="T26" fmla="*/ 84 w 105"/>
                <a:gd name="T27" fmla="*/ 34 h 145"/>
                <a:gd name="T28" fmla="*/ 55 w 105"/>
                <a:gd name="T29" fmla="*/ 24 h 145"/>
                <a:gd name="T30" fmla="*/ 33 w 105"/>
                <a:gd name="T31" fmla="*/ 42 h 145"/>
                <a:gd name="T32" fmla="*/ 37 w 105"/>
                <a:gd name="T33" fmla="*/ 52 h 145"/>
                <a:gd name="T34" fmla="*/ 50 w 105"/>
                <a:gd name="T35" fmla="*/ 58 h 145"/>
                <a:gd name="T36" fmla="*/ 67 w 105"/>
                <a:gd name="T37" fmla="*/ 60 h 145"/>
                <a:gd name="T38" fmla="*/ 94 w 105"/>
                <a:gd name="T39" fmla="*/ 71 h 145"/>
                <a:gd name="T40" fmla="*/ 105 w 105"/>
                <a:gd name="T41" fmla="*/ 102 h 145"/>
                <a:gd name="T42" fmla="*/ 52 w 105"/>
                <a:gd name="T43" fmla="*/ 145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5" h="145">
                  <a:moveTo>
                    <a:pt x="52" y="145"/>
                  </a:moveTo>
                  <a:lnTo>
                    <a:pt x="52" y="145"/>
                  </a:lnTo>
                  <a:cubicBezTo>
                    <a:pt x="31" y="145"/>
                    <a:pt x="14" y="140"/>
                    <a:pt x="0" y="126"/>
                  </a:cubicBezTo>
                  <a:lnTo>
                    <a:pt x="18" y="108"/>
                  </a:lnTo>
                  <a:cubicBezTo>
                    <a:pt x="27" y="117"/>
                    <a:pt x="40" y="120"/>
                    <a:pt x="53" y="120"/>
                  </a:cubicBezTo>
                  <a:cubicBezTo>
                    <a:pt x="69" y="120"/>
                    <a:pt x="78" y="114"/>
                    <a:pt x="78" y="102"/>
                  </a:cubicBezTo>
                  <a:cubicBezTo>
                    <a:pt x="78" y="97"/>
                    <a:pt x="77" y="93"/>
                    <a:pt x="74" y="90"/>
                  </a:cubicBezTo>
                  <a:cubicBezTo>
                    <a:pt x="71" y="88"/>
                    <a:pt x="68" y="86"/>
                    <a:pt x="61" y="85"/>
                  </a:cubicBezTo>
                  <a:lnTo>
                    <a:pt x="44" y="83"/>
                  </a:lnTo>
                  <a:cubicBezTo>
                    <a:pt x="32" y="81"/>
                    <a:pt x="23" y="77"/>
                    <a:pt x="16" y="71"/>
                  </a:cubicBezTo>
                  <a:cubicBezTo>
                    <a:pt x="9" y="65"/>
                    <a:pt x="6" y="55"/>
                    <a:pt x="6" y="43"/>
                  </a:cubicBezTo>
                  <a:cubicBezTo>
                    <a:pt x="6" y="18"/>
                    <a:pt x="25" y="0"/>
                    <a:pt x="56" y="0"/>
                  </a:cubicBezTo>
                  <a:cubicBezTo>
                    <a:pt x="75" y="0"/>
                    <a:pt x="89" y="5"/>
                    <a:pt x="102" y="17"/>
                  </a:cubicBezTo>
                  <a:lnTo>
                    <a:pt x="84" y="34"/>
                  </a:lnTo>
                  <a:cubicBezTo>
                    <a:pt x="75" y="26"/>
                    <a:pt x="64" y="24"/>
                    <a:pt x="55" y="24"/>
                  </a:cubicBezTo>
                  <a:cubicBezTo>
                    <a:pt x="40" y="24"/>
                    <a:pt x="33" y="32"/>
                    <a:pt x="33" y="42"/>
                  </a:cubicBezTo>
                  <a:cubicBezTo>
                    <a:pt x="33" y="46"/>
                    <a:pt x="34" y="50"/>
                    <a:pt x="37" y="52"/>
                  </a:cubicBezTo>
                  <a:cubicBezTo>
                    <a:pt x="40" y="55"/>
                    <a:pt x="44" y="57"/>
                    <a:pt x="50" y="58"/>
                  </a:cubicBezTo>
                  <a:lnTo>
                    <a:pt x="67" y="60"/>
                  </a:lnTo>
                  <a:cubicBezTo>
                    <a:pt x="80" y="62"/>
                    <a:pt x="88" y="66"/>
                    <a:pt x="94" y="71"/>
                  </a:cubicBezTo>
                  <a:cubicBezTo>
                    <a:pt x="102" y="79"/>
                    <a:pt x="105" y="89"/>
                    <a:pt x="105" y="102"/>
                  </a:cubicBezTo>
                  <a:cubicBezTo>
                    <a:pt x="105" y="129"/>
                    <a:pt x="82" y="145"/>
                    <a:pt x="52" y="1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2" name="Freeform 54"/>
            <p:cNvSpPr>
              <a:spLocks noEditPoints="1"/>
            </p:cNvSpPr>
            <p:nvPr/>
          </p:nvSpPr>
          <p:spPr bwMode="auto">
            <a:xfrm>
              <a:off x="9024938" y="-495301"/>
              <a:ext cx="112713" cy="128588"/>
            </a:xfrm>
            <a:custGeom>
              <a:avLst/>
              <a:gdLst>
                <a:gd name="T0" fmla="*/ 97 w 126"/>
                <a:gd name="T1" fmla="*/ 143 h 143"/>
                <a:gd name="T2" fmla="*/ 97 w 126"/>
                <a:gd name="T3" fmla="*/ 143 h 143"/>
                <a:gd name="T4" fmla="*/ 89 w 126"/>
                <a:gd name="T5" fmla="*/ 117 h 143"/>
                <a:gd name="T6" fmla="*/ 38 w 126"/>
                <a:gd name="T7" fmla="*/ 117 h 143"/>
                <a:gd name="T8" fmla="*/ 29 w 126"/>
                <a:gd name="T9" fmla="*/ 143 h 143"/>
                <a:gd name="T10" fmla="*/ 0 w 126"/>
                <a:gd name="T11" fmla="*/ 143 h 143"/>
                <a:gd name="T12" fmla="*/ 52 w 126"/>
                <a:gd name="T13" fmla="*/ 0 h 143"/>
                <a:gd name="T14" fmla="*/ 74 w 126"/>
                <a:gd name="T15" fmla="*/ 0 h 143"/>
                <a:gd name="T16" fmla="*/ 126 w 126"/>
                <a:gd name="T17" fmla="*/ 143 h 143"/>
                <a:gd name="T18" fmla="*/ 97 w 126"/>
                <a:gd name="T19" fmla="*/ 143 h 143"/>
                <a:gd name="T20" fmla="*/ 64 w 126"/>
                <a:gd name="T21" fmla="*/ 42 h 143"/>
                <a:gd name="T22" fmla="*/ 64 w 126"/>
                <a:gd name="T23" fmla="*/ 42 h 143"/>
                <a:gd name="T24" fmla="*/ 46 w 126"/>
                <a:gd name="T25" fmla="*/ 94 h 143"/>
                <a:gd name="T26" fmla="*/ 81 w 126"/>
                <a:gd name="T27" fmla="*/ 94 h 143"/>
                <a:gd name="T28" fmla="*/ 64 w 126"/>
                <a:gd name="T29" fmla="*/ 42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26" h="143">
                  <a:moveTo>
                    <a:pt x="97" y="143"/>
                  </a:moveTo>
                  <a:lnTo>
                    <a:pt x="97" y="143"/>
                  </a:lnTo>
                  <a:lnTo>
                    <a:pt x="89" y="117"/>
                  </a:lnTo>
                  <a:lnTo>
                    <a:pt x="38" y="117"/>
                  </a:lnTo>
                  <a:lnTo>
                    <a:pt x="29" y="143"/>
                  </a:lnTo>
                  <a:lnTo>
                    <a:pt x="0" y="143"/>
                  </a:lnTo>
                  <a:lnTo>
                    <a:pt x="52" y="0"/>
                  </a:lnTo>
                  <a:lnTo>
                    <a:pt x="74" y="0"/>
                  </a:lnTo>
                  <a:lnTo>
                    <a:pt x="126" y="143"/>
                  </a:lnTo>
                  <a:lnTo>
                    <a:pt x="97" y="143"/>
                  </a:lnTo>
                  <a:close/>
                  <a:moveTo>
                    <a:pt x="64" y="42"/>
                  </a:moveTo>
                  <a:lnTo>
                    <a:pt x="64" y="42"/>
                  </a:lnTo>
                  <a:lnTo>
                    <a:pt x="46" y="94"/>
                  </a:lnTo>
                  <a:lnTo>
                    <a:pt x="81" y="94"/>
                  </a:lnTo>
                  <a:lnTo>
                    <a:pt x="64" y="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3" name="Freeform 55"/>
            <p:cNvSpPr>
              <a:spLocks/>
            </p:cNvSpPr>
            <p:nvPr/>
          </p:nvSpPr>
          <p:spPr bwMode="auto">
            <a:xfrm>
              <a:off x="9155113" y="-495301"/>
              <a:ext cx="82550" cy="128588"/>
            </a:xfrm>
            <a:custGeom>
              <a:avLst/>
              <a:gdLst>
                <a:gd name="T0" fmla="*/ 0 w 92"/>
                <a:gd name="T1" fmla="*/ 0 h 143"/>
                <a:gd name="T2" fmla="*/ 0 w 92"/>
                <a:gd name="T3" fmla="*/ 0 h 143"/>
                <a:gd name="T4" fmla="*/ 0 w 92"/>
                <a:gd name="T5" fmla="*/ 143 h 143"/>
                <a:gd name="T6" fmla="*/ 92 w 92"/>
                <a:gd name="T7" fmla="*/ 143 h 143"/>
                <a:gd name="T8" fmla="*/ 92 w 92"/>
                <a:gd name="T9" fmla="*/ 118 h 143"/>
                <a:gd name="T10" fmla="*/ 28 w 92"/>
                <a:gd name="T11" fmla="*/ 118 h 143"/>
                <a:gd name="T12" fmla="*/ 28 w 92"/>
                <a:gd name="T13" fmla="*/ 0 h 143"/>
                <a:gd name="T14" fmla="*/ 0 w 92"/>
                <a:gd name="T15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2" h="143">
                  <a:moveTo>
                    <a:pt x="0" y="0"/>
                  </a:moveTo>
                  <a:lnTo>
                    <a:pt x="0" y="0"/>
                  </a:lnTo>
                  <a:lnTo>
                    <a:pt x="0" y="143"/>
                  </a:lnTo>
                  <a:lnTo>
                    <a:pt x="92" y="143"/>
                  </a:lnTo>
                  <a:lnTo>
                    <a:pt x="92" y="118"/>
                  </a:lnTo>
                  <a:lnTo>
                    <a:pt x="28" y="118"/>
                  </a:lnTo>
                  <a:lnTo>
                    <a:pt x="2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9452A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12" name="Chevrons"/>
          <p:cNvGrpSpPr/>
          <p:nvPr/>
        </p:nvGrpSpPr>
        <p:grpSpPr>
          <a:xfrm>
            <a:off x="5581747" y="1653488"/>
            <a:ext cx="215175" cy="74486"/>
            <a:chOff x="2177378" y="401620"/>
            <a:chExt cx="264150" cy="91440"/>
          </a:xfrm>
          <a:solidFill>
            <a:schemeClr val="accent5"/>
          </a:solidFill>
        </p:grpSpPr>
        <p:sp>
          <p:nvSpPr>
            <p:cNvPr id="327" name="Chevron 326"/>
            <p:cNvSpPr/>
            <p:nvPr/>
          </p:nvSpPr>
          <p:spPr>
            <a:xfrm>
              <a:off x="2177378" y="401620"/>
              <a:ext cx="91440" cy="9144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8" name="Chevron 327"/>
            <p:cNvSpPr/>
            <p:nvPr/>
          </p:nvSpPr>
          <p:spPr>
            <a:xfrm>
              <a:off x="2263733" y="401620"/>
              <a:ext cx="91439" cy="9144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9" name="Chevron 328"/>
            <p:cNvSpPr/>
            <p:nvPr/>
          </p:nvSpPr>
          <p:spPr>
            <a:xfrm>
              <a:off x="2350088" y="401620"/>
              <a:ext cx="91440" cy="9144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9" name="Transport Tan"/>
          <p:cNvGrpSpPr/>
          <p:nvPr/>
        </p:nvGrpSpPr>
        <p:grpSpPr>
          <a:xfrm>
            <a:off x="4266463" y="1464751"/>
            <a:ext cx="1280160" cy="2926080"/>
            <a:chOff x="4266463" y="1464751"/>
            <a:chExt cx="1280160" cy="2926080"/>
          </a:xfrm>
        </p:grpSpPr>
        <p:sp>
          <p:nvSpPr>
            <p:cNvPr id="145" name="Transport Tan"/>
            <p:cNvSpPr/>
            <p:nvPr/>
          </p:nvSpPr>
          <p:spPr>
            <a:xfrm>
              <a:off x="4266463" y="1464751"/>
              <a:ext cx="1280160" cy="2926080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74" name="Transport"/>
            <p:cNvGrpSpPr/>
            <p:nvPr/>
          </p:nvGrpSpPr>
          <p:grpSpPr>
            <a:xfrm>
              <a:off x="4495315" y="1637712"/>
              <a:ext cx="822456" cy="106039"/>
              <a:chOff x="3205163" y="-1457326"/>
              <a:chExt cx="1009650" cy="130175"/>
            </a:xfrm>
            <a:solidFill>
              <a:schemeClr val="accent5">
                <a:lumMod val="75000"/>
              </a:schemeClr>
            </a:solidFill>
          </p:grpSpPr>
          <p:sp>
            <p:nvSpPr>
              <p:cNvPr id="318" name="Freeform 24"/>
              <p:cNvSpPr>
                <a:spLocks/>
              </p:cNvSpPr>
              <p:nvPr/>
            </p:nvSpPr>
            <p:spPr bwMode="auto">
              <a:xfrm>
                <a:off x="3205163" y="-1457326"/>
                <a:ext cx="92075" cy="128588"/>
              </a:xfrm>
              <a:custGeom>
                <a:avLst/>
                <a:gdLst>
                  <a:gd name="T0" fmla="*/ 0 w 103"/>
                  <a:gd name="T1" fmla="*/ 0 h 142"/>
                  <a:gd name="T2" fmla="*/ 0 w 103"/>
                  <a:gd name="T3" fmla="*/ 0 h 142"/>
                  <a:gd name="T4" fmla="*/ 0 w 103"/>
                  <a:gd name="T5" fmla="*/ 24 h 142"/>
                  <a:gd name="T6" fmla="*/ 38 w 103"/>
                  <a:gd name="T7" fmla="*/ 24 h 142"/>
                  <a:gd name="T8" fmla="*/ 38 w 103"/>
                  <a:gd name="T9" fmla="*/ 142 h 142"/>
                  <a:gd name="T10" fmla="*/ 65 w 103"/>
                  <a:gd name="T11" fmla="*/ 142 h 142"/>
                  <a:gd name="T12" fmla="*/ 65 w 103"/>
                  <a:gd name="T13" fmla="*/ 24 h 142"/>
                  <a:gd name="T14" fmla="*/ 103 w 103"/>
                  <a:gd name="T15" fmla="*/ 24 h 142"/>
                  <a:gd name="T16" fmla="*/ 103 w 103"/>
                  <a:gd name="T17" fmla="*/ 0 h 142"/>
                  <a:gd name="T18" fmla="*/ 0 w 103"/>
                  <a:gd name="T19" fmla="*/ 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3" h="142">
                    <a:moveTo>
                      <a:pt x="0" y="0"/>
                    </a:moveTo>
                    <a:lnTo>
                      <a:pt x="0" y="0"/>
                    </a:lnTo>
                    <a:lnTo>
                      <a:pt x="0" y="24"/>
                    </a:lnTo>
                    <a:lnTo>
                      <a:pt x="38" y="24"/>
                    </a:lnTo>
                    <a:lnTo>
                      <a:pt x="38" y="142"/>
                    </a:lnTo>
                    <a:lnTo>
                      <a:pt x="65" y="142"/>
                    </a:lnTo>
                    <a:lnTo>
                      <a:pt x="65" y="24"/>
                    </a:lnTo>
                    <a:lnTo>
                      <a:pt x="103" y="24"/>
                    </a:lnTo>
                    <a:lnTo>
                      <a:pt x="10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9" name="Freeform 25"/>
              <p:cNvSpPr>
                <a:spLocks noEditPoints="1"/>
              </p:cNvSpPr>
              <p:nvPr/>
            </p:nvSpPr>
            <p:spPr bwMode="auto">
              <a:xfrm>
                <a:off x="3316288" y="-1457326"/>
                <a:ext cx="96838" cy="128588"/>
              </a:xfrm>
              <a:custGeom>
                <a:avLst/>
                <a:gdLst>
                  <a:gd name="T0" fmla="*/ 76 w 108"/>
                  <a:gd name="T1" fmla="*/ 142 h 142"/>
                  <a:gd name="T2" fmla="*/ 76 w 108"/>
                  <a:gd name="T3" fmla="*/ 142 h 142"/>
                  <a:gd name="T4" fmla="*/ 48 w 108"/>
                  <a:gd name="T5" fmla="*/ 85 h 142"/>
                  <a:gd name="T6" fmla="*/ 28 w 108"/>
                  <a:gd name="T7" fmla="*/ 85 h 142"/>
                  <a:gd name="T8" fmla="*/ 28 w 108"/>
                  <a:gd name="T9" fmla="*/ 142 h 142"/>
                  <a:gd name="T10" fmla="*/ 0 w 108"/>
                  <a:gd name="T11" fmla="*/ 142 h 142"/>
                  <a:gd name="T12" fmla="*/ 0 w 108"/>
                  <a:gd name="T13" fmla="*/ 0 h 142"/>
                  <a:gd name="T14" fmla="*/ 56 w 108"/>
                  <a:gd name="T15" fmla="*/ 0 h 142"/>
                  <a:gd name="T16" fmla="*/ 102 w 108"/>
                  <a:gd name="T17" fmla="*/ 43 h 142"/>
                  <a:gd name="T18" fmla="*/ 76 w 108"/>
                  <a:gd name="T19" fmla="*/ 80 h 142"/>
                  <a:gd name="T20" fmla="*/ 108 w 108"/>
                  <a:gd name="T21" fmla="*/ 142 h 142"/>
                  <a:gd name="T22" fmla="*/ 76 w 108"/>
                  <a:gd name="T23" fmla="*/ 142 h 142"/>
                  <a:gd name="T24" fmla="*/ 54 w 108"/>
                  <a:gd name="T25" fmla="*/ 24 h 142"/>
                  <a:gd name="T26" fmla="*/ 54 w 108"/>
                  <a:gd name="T27" fmla="*/ 24 h 142"/>
                  <a:gd name="T28" fmla="*/ 28 w 108"/>
                  <a:gd name="T29" fmla="*/ 24 h 142"/>
                  <a:gd name="T30" fmla="*/ 28 w 108"/>
                  <a:gd name="T31" fmla="*/ 62 h 142"/>
                  <a:gd name="T32" fmla="*/ 54 w 108"/>
                  <a:gd name="T33" fmla="*/ 62 h 142"/>
                  <a:gd name="T34" fmla="*/ 74 w 108"/>
                  <a:gd name="T35" fmla="*/ 43 h 142"/>
                  <a:gd name="T36" fmla="*/ 54 w 108"/>
                  <a:gd name="T37" fmla="*/ 24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8" h="142">
                    <a:moveTo>
                      <a:pt x="76" y="142"/>
                    </a:moveTo>
                    <a:lnTo>
                      <a:pt x="76" y="142"/>
                    </a:lnTo>
                    <a:lnTo>
                      <a:pt x="48" y="85"/>
                    </a:lnTo>
                    <a:lnTo>
                      <a:pt x="28" y="85"/>
                    </a:lnTo>
                    <a:lnTo>
                      <a:pt x="28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56" y="0"/>
                    </a:lnTo>
                    <a:cubicBezTo>
                      <a:pt x="85" y="0"/>
                      <a:pt x="102" y="19"/>
                      <a:pt x="102" y="43"/>
                    </a:cubicBezTo>
                    <a:cubicBezTo>
                      <a:pt x="102" y="63"/>
                      <a:pt x="90" y="75"/>
                      <a:pt x="76" y="80"/>
                    </a:cubicBezTo>
                    <a:lnTo>
                      <a:pt x="108" y="142"/>
                    </a:lnTo>
                    <a:lnTo>
                      <a:pt x="76" y="142"/>
                    </a:lnTo>
                    <a:close/>
                    <a:moveTo>
                      <a:pt x="54" y="24"/>
                    </a:moveTo>
                    <a:lnTo>
                      <a:pt x="54" y="24"/>
                    </a:lnTo>
                    <a:lnTo>
                      <a:pt x="28" y="24"/>
                    </a:lnTo>
                    <a:lnTo>
                      <a:pt x="28" y="62"/>
                    </a:lnTo>
                    <a:lnTo>
                      <a:pt x="54" y="62"/>
                    </a:lnTo>
                    <a:cubicBezTo>
                      <a:pt x="66" y="62"/>
                      <a:pt x="74" y="54"/>
                      <a:pt x="74" y="43"/>
                    </a:cubicBezTo>
                    <a:cubicBezTo>
                      <a:pt x="74" y="32"/>
                      <a:pt x="66" y="24"/>
                      <a:pt x="54" y="24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0" name="Freeform 26"/>
              <p:cNvSpPr>
                <a:spLocks noEditPoints="1"/>
              </p:cNvSpPr>
              <p:nvPr/>
            </p:nvSpPr>
            <p:spPr bwMode="auto">
              <a:xfrm>
                <a:off x="3427413" y="-1457326"/>
                <a:ext cx="111125" cy="128588"/>
              </a:xfrm>
              <a:custGeom>
                <a:avLst/>
                <a:gdLst>
                  <a:gd name="T0" fmla="*/ 52 w 126"/>
                  <a:gd name="T1" fmla="*/ 0 h 142"/>
                  <a:gd name="T2" fmla="*/ 52 w 126"/>
                  <a:gd name="T3" fmla="*/ 0 h 142"/>
                  <a:gd name="T4" fmla="*/ 0 w 126"/>
                  <a:gd name="T5" fmla="*/ 142 h 142"/>
                  <a:gd name="T6" fmla="*/ 29 w 126"/>
                  <a:gd name="T7" fmla="*/ 142 h 142"/>
                  <a:gd name="T8" fmla="*/ 38 w 126"/>
                  <a:gd name="T9" fmla="*/ 116 h 142"/>
                  <a:gd name="T10" fmla="*/ 88 w 126"/>
                  <a:gd name="T11" fmla="*/ 116 h 142"/>
                  <a:gd name="T12" fmla="*/ 97 w 126"/>
                  <a:gd name="T13" fmla="*/ 142 h 142"/>
                  <a:gd name="T14" fmla="*/ 126 w 126"/>
                  <a:gd name="T15" fmla="*/ 142 h 142"/>
                  <a:gd name="T16" fmla="*/ 74 w 126"/>
                  <a:gd name="T17" fmla="*/ 0 h 142"/>
                  <a:gd name="T18" fmla="*/ 52 w 126"/>
                  <a:gd name="T19" fmla="*/ 0 h 142"/>
                  <a:gd name="T20" fmla="*/ 63 w 126"/>
                  <a:gd name="T21" fmla="*/ 41 h 142"/>
                  <a:gd name="T22" fmla="*/ 63 w 126"/>
                  <a:gd name="T23" fmla="*/ 41 h 142"/>
                  <a:gd name="T24" fmla="*/ 81 w 126"/>
                  <a:gd name="T25" fmla="*/ 93 h 142"/>
                  <a:gd name="T26" fmla="*/ 45 w 126"/>
                  <a:gd name="T27" fmla="*/ 93 h 142"/>
                  <a:gd name="T28" fmla="*/ 63 w 126"/>
                  <a:gd name="T29" fmla="*/ 41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6" h="142">
                    <a:moveTo>
                      <a:pt x="52" y="0"/>
                    </a:moveTo>
                    <a:lnTo>
                      <a:pt x="52" y="0"/>
                    </a:lnTo>
                    <a:lnTo>
                      <a:pt x="0" y="142"/>
                    </a:lnTo>
                    <a:lnTo>
                      <a:pt x="29" y="142"/>
                    </a:lnTo>
                    <a:lnTo>
                      <a:pt x="38" y="116"/>
                    </a:lnTo>
                    <a:lnTo>
                      <a:pt x="88" y="116"/>
                    </a:lnTo>
                    <a:lnTo>
                      <a:pt x="97" y="142"/>
                    </a:lnTo>
                    <a:lnTo>
                      <a:pt x="126" y="142"/>
                    </a:lnTo>
                    <a:lnTo>
                      <a:pt x="74" y="0"/>
                    </a:lnTo>
                    <a:lnTo>
                      <a:pt x="52" y="0"/>
                    </a:lnTo>
                    <a:close/>
                    <a:moveTo>
                      <a:pt x="63" y="41"/>
                    </a:moveTo>
                    <a:lnTo>
                      <a:pt x="63" y="41"/>
                    </a:lnTo>
                    <a:lnTo>
                      <a:pt x="81" y="93"/>
                    </a:lnTo>
                    <a:lnTo>
                      <a:pt x="45" y="93"/>
                    </a:lnTo>
                    <a:lnTo>
                      <a:pt x="63" y="41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1" name="Freeform 27"/>
              <p:cNvSpPr>
                <a:spLocks/>
              </p:cNvSpPr>
              <p:nvPr/>
            </p:nvSpPr>
            <p:spPr bwMode="auto">
              <a:xfrm>
                <a:off x="3556000" y="-1457326"/>
                <a:ext cx="98425" cy="128588"/>
              </a:xfrm>
              <a:custGeom>
                <a:avLst/>
                <a:gdLst>
                  <a:gd name="T0" fmla="*/ 81 w 109"/>
                  <a:gd name="T1" fmla="*/ 0 h 142"/>
                  <a:gd name="T2" fmla="*/ 81 w 109"/>
                  <a:gd name="T3" fmla="*/ 0 h 142"/>
                  <a:gd name="T4" fmla="*/ 81 w 109"/>
                  <a:gd name="T5" fmla="*/ 86 h 142"/>
                  <a:gd name="T6" fmla="*/ 24 w 109"/>
                  <a:gd name="T7" fmla="*/ 0 h 142"/>
                  <a:gd name="T8" fmla="*/ 0 w 109"/>
                  <a:gd name="T9" fmla="*/ 0 h 142"/>
                  <a:gd name="T10" fmla="*/ 0 w 109"/>
                  <a:gd name="T11" fmla="*/ 142 h 142"/>
                  <a:gd name="T12" fmla="*/ 27 w 109"/>
                  <a:gd name="T13" fmla="*/ 142 h 142"/>
                  <a:gd name="T14" fmla="*/ 27 w 109"/>
                  <a:gd name="T15" fmla="*/ 54 h 142"/>
                  <a:gd name="T16" fmla="*/ 84 w 109"/>
                  <a:gd name="T17" fmla="*/ 142 h 142"/>
                  <a:gd name="T18" fmla="*/ 109 w 109"/>
                  <a:gd name="T19" fmla="*/ 142 h 142"/>
                  <a:gd name="T20" fmla="*/ 109 w 109"/>
                  <a:gd name="T21" fmla="*/ 0 h 142"/>
                  <a:gd name="T22" fmla="*/ 81 w 109"/>
                  <a:gd name="T23" fmla="*/ 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9" h="142">
                    <a:moveTo>
                      <a:pt x="81" y="0"/>
                    </a:moveTo>
                    <a:lnTo>
                      <a:pt x="81" y="0"/>
                    </a:lnTo>
                    <a:lnTo>
                      <a:pt x="81" y="86"/>
                    </a:lnTo>
                    <a:lnTo>
                      <a:pt x="24" y="0"/>
                    </a:lnTo>
                    <a:lnTo>
                      <a:pt x="0" y="0"/>
                    </a:lnTo>
                    <a:lnTo>
                      <a:pt x="0" y="142"/>
                    </a:lnTo>
                    <a:lnTo>
                      <a:pt x="27" y="142"/>
                    </a:lnTo>
                    <a:lnTo>
                      <a:pt x="27" y="54"/>
                    </a:lnTo>
                    <a:lnTo>
                      <a:pt x="84" y="142"/>
                    </a:lnTo>
                    <a:lnTo>
                      <a:pt x="109" y="142"/>
                    </a:lnTo>
                    <a:lnTo>
                      <a:pt x="109" y="0"/>
                    </a:lnTo>
                    <a:lnTo>
                      <a:pt x="81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2" name="Freeform 28"/>
              <p:cNvSpPr>
                <a:spLocks/>
              </p:cNvSpPr>
              <p:nvPr/>
            </p:nvSpPr>
            <p:spPr bwMode="auto">
              <a:xfrm>
                <a:off x="3671888" y="-1457326"/>
                <a:ext cx="93663" cy="130175"/>
              </a:xfrm>
              <a:custGeom>
                <a:avLst/>
                <a:gdLst>
                  <a:gd name="T0" fmla="*/ 52 w 105"/>
                  <a:gd name="T1" fmla="*/ 144 h 144"/>
                  <a:gd name="T2" fmla="*/ 52 w 105"/>
                  <a:gd name="T3" fmla="*/ 144 h 144"/>
                  <a:gd name="T4" fmla="*/ 0 w 105"/>
                  <a:gd name="T5" fmla="*/ 125 h 144"/>
                  <a:gd name="T6" fmla="*/ 18 w 105"/>
                  <a:gd name="T7" fmla="*/ 107 h 144"/>
                  <a:gd name="T8" fmla="*/ 53 w 105"/>
                  <a:gd name="T9" fmla="*/ 119 h 144"/>
                  <a:gd name="T10" fmla="*/ 78 w 105"/>
                  <a:gd name="T11" fmla="*/ 101 h 144"/>
                  <a:gd name="T12" fmla="*/ 73 w 105"/>
                  <a:gd name="T13" fmla="*/ 89 h 144"/>
                  <a:gd name="T14" fmla="*/ 61 w 105"/>
                  <a:gd name="T15" fmla="*/ 84 h 144"/>
                  <a:gd name="T16" fmla="*/ 44 w 105"/>
                  <a:gd name="T17" fmla="*/ 82 h 144"/>
                  <a:gd name="T18" fmla="*/ 16 w 105"/>
                  <a:gd name="T19" fmla="*/ 70 h 144"/>
                  <a:gd name="T20" fmla="*/ 6 w 105"/>
                  <a:gd name="T21" fmla="*/ 42 h 144"/>
                  <a:gd name="T22" fmla="*/ 55 w 105"/>
                  <a:gd name="T23" fmla="*/ 0 h 144"/>
                  <a:gd name="T24" fmla="*/ 101 w 105"/>
                  <a:gd name="T25" fmla="*/ 16 h 144"/>
                  <a:gd name="T26" fmla="*/ 84 w 105"/>
                  <a:gd name="T27" fmla="*/ 33 h 144"/>
                  <a:gd name="T28" fmla="*/ 55 w 105"/>
                  <a:gd name="T29" fmla="*/ 23 h 144"/>
                  <a:gd name="T30" fmla="*/ 33 w 105"/>
                  <a:gd name="T31" fmla="*/ 41 h 144"/>
                  <a:gd name="T32" fmla="*/ 37 w 105"/>
                  <a:gd name="T33" fmla="*/ 51 h 144"/>
                  <a:gd name="T34" fmla="*/ 50 w 105"/>
                  <a:gd name="T35" fmla="*/ 57 h 144"/>
                  <a:gd name="T36" fmla="*/ 67 w 105"/>
                  <a:gd name="T37" fmla="*/ 59 h 144"/>
                  <a:gd name="T38" fmla="*/ 94 w 105"/>
                  <a:gd name="T39" fmla="*/ 70 h 144"/>
                  <a:gd name="T40" fmla="*/ 105 w 105"/>
                  <a:gd name="T41" fmla="*/ 101 h 144"/>
                  <a:gd name="T42" fmla="*/ 52 w 105"/>
                  <a:gd name="T43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05" h="144">
                    <a:moveTo>
                      <a:pt x="52" y="144"/>
                    </a:moveTo>
                    <a:lnTo>
                      <a:pt x="52" y="144"/>
                    </a:lnTo>
                    <a:cubicBezTo>
                      <a:pt x="31" y="144"/>
                      <a:pt x="14" y="139"/>
                      <a:pt x="0" y="125"/>
                    </a:cubicBezTo>
                    <a:lnTo>
                      <a:pt x="18" y="107"/>
                    </a:lnTo>
                    <a:cubicBezTo>
                      <a:pt x="27" y="116"/>
                      <a:pt x="39" y="119"/>
                      <a:pt x="53" y="119"/>
                    </a:cubicBezTo>
                    <a:cubicBezTo>
                      <a:pt x="69" y="119"/>
                      <a:pt x="78" y="113"/>
                      <a:pt x="78" y="101"/>
                    </a:cubicBezTo>
                    <a:cubicBezTo>
                      <a:pt x="78" y="96"/>
                      <a:pt x="76" y="92"/>
                      <a:pt x="73" y="89"/>
                    </a:cubicBezTo>
                    <a:cubicBezTo>
                      <a:pt x="71" y="87"/>
                      <a:pt x="67" y="85"/>
                      <a:pt x="61" y="84"/>
                    </a:cubicBezTo>
                    <a:lnTo>
                      <a:pt x="44" y="82"/>
                    </a:lnTo>
                    <a:cubicBezTo>
                      <a:pt x="31" y="80"/>
                      <a:pt x="22" y="76"/>
                      <a:pt x="16" y="70"/>
                    </a:cubicBezTo>
                    <a:cubicBezTo>
                      <a:pt x="9" y="63"/>
                      <a:pt x="6" y="54"/>
                      <a:pt x="6" y="42"/>
                    </a:cubicBezTo>
                    <a:cubicBezTo>
                      <a:pt x="6" y="17"/>
                      <a:pt x="25" y="0"/>
                      <a:pt x="55" y="0"/>
                    </a:cubicBezTo>
                    <a:cubicBezTo>
                      <a:pt x="75" y="0"/>
                      <a:pt x="89" y="4"/>
                      <a:pt x="101" y="16"/>
                    </a:cubicBezTo>
                    <a:lnTo>
                      <a:pt x="84" y="33"/>
                    </a:lnTo>
                    <a:cubicBezTo>
                      <a:pt x="75" y="24"/>
                      <a:pt x="64" y="23"/>
                      <a:pt x="55" y="23"/>
                    </a:cubicBezTo>
                    <a:cubicBezTo>
                      <a:pt x="40" y="23"/>
                      <a:pt x="33" y="31"/>
                      <a:pt x="33" y="41"/>
                    </a:cubicBezTo>
                    <a:cubicBezTo>
                      <a:pt x="33" y="45"/>
                      <a:pt x="34" y="49"/>
                      <a:pt x="37" y="51"/>
                    </a:cubicBezTo>
                    <a:cubicBezTo>
                      <a:pt x="40" y="54"/>
                      <a:pt x="44" y="56"/>
                      <a:pt x="50" y="57"/>
                    </a:cubicBezTo>
                    <a:lnTo>
                      <a:pt x="67" y="59"/>
                    </a:lnTo>
                    <a:cubicBezTo>
                      <a:pt x="80" y="61"/>
                      <a:pt x="88" y="65"/>
                      <a:pt x="94" y="70"/>
                    </a:cubicBezTo>
                    <a:cubicBezTo>
                      <a:pt x="102" y="78"/>
                      <a:pt x="105" y="88"/>
                      <a:pt x="105" y="101"/>
                    </a:cubicBezTo>
                    <a:cubicBezTo>
                      <a:pt x="105" y="128"/>
                      <a:pt x="82" y="144"/>
                      <a:pt x="52" y="144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3" name="Freeform 29"/>
              <p:cNvSpPr>
                <a:spLocks noEditPoints="1"/>
              </p:cNvSpPr>
              <p:nvPr/>
            </p:nvSpPr>
            <p:spPr bwMode="auto">
              <a:xfrm>
                <a:off x="3787775" y="-1457326"/>
                <a:ext cx="90488" cy="128588"/>
              </a:xfrm>
              <a:custGeom>
                <a:avLst/>
                <a:gdLst>
                  <a:gd name="T0" fmla="*/ 55 w 102"/>
                  <a:gd name="T1" fmla="*/ 88 h 142"/>
                  <a:gd name="T2" fmla="*/ 55 w 102"/>
                  <a:gd name="T3" fmla="*/ 88 h 142"/>
                  <a:gd name="T4" fmla="*/ 28 w 102"/>
                  <a:gd name="T5" fmla="*/ 88 h 142"/>
                  <a:gd name="T6" fmla="*/ 28 w 102"/>
                  <a:gd name="T7" fmla="*/ 142 h 142"/>
                  <a:gd name="T8" fmla="*/ 0 w 102"/>
                  <a:gd name="T9" fmla="*/ 142 h 142"/>
                  <a:gd name="T10" fmla="*/ 0 w 102"/>
                  <a:gd name="T11" fmla="*/ 0 h 142"/>
                  <a:gd name="T12" fmla="*/ 55 w 102"/>
                  <a:gd name="T13" fmla="*/ 0 h 142"/>
                  <a:gd name="T14" fmla="*/ 102 w 102"/>
                  <a:gd name="T15" fmla="*/ 44 h 142"/>
                  <a:gd name="T16" fmla="*/ 55 w 102"/>
                  <a:gd name="T17" fmla="*/ 88 h 142"/>
                  <a:gd name="T18" fmla="*/ 54 w 102"/>
                  <a:gd name="T19" fmla="*/ 24 h 142"/>
                  <a:gd name="T20" fmla="*/ 54 w 102"/>
                  <a:gd name="T21" fmla="*/ 24 h 142"/>
                  <a:gd name="T22" fmla="*/ 28 w 102"/>
                  <a:gd name="T23" fmla="*/ 24 h 142"/>
                  <a:gd name="T24" fmla="*/ 28 w 102"/>
                  <a:gd name="T25" fmla="*/ 63 h 142"/>
                  <a:gd name="T26" fmla="*/ 54 w 102"/>
                  <a:gd name="T27" fmla="*/ 63 h 142"/>
                  <a:gd name="T28" fmla="*/ 75 w 102"/>
                  <a:gd name="T29" fmla="*/ 44 h 142"/>
                  <a:gd name="T30" fmla="*/ 54 w 102"/>
                  <a:gd name="T31" fmla="*/ 24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2" h="142">
                    <a:moveTo>
                      <a:pt x="55" y="88"/>
                    </a:moveTo>
                    <a:lnTo>
                      <a:pt x="55" y="88"/>
                    </a:lnTo>
                    <a:lnTo>
                      <a:pt x="28" y="88"/>
                    </a:lnTo>
                    <a:lnTo>
                      <a:pt x="28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55" y="0"/>
                    </a:lnTo>
                    <a:cubicBezTo>
                      <a:pt x="85" y="0"/>
                      <a:pt x="102" y="19"/>
                      <a:pt x="102" y="44"/>
                    </a:cubicBezTo>
                    <a:cubicBezTo>
                      <a:pt x="102" y="68"/>
                      <a:pt x="85" y="88"/>
                      <a:pt x="55" y="88"/>
                    </a:cubicBezTo>
                    <a:close/>
                    <a:moveTo>
                      <a:pt x="54" y="24"/>
                    </a:moveTo>
                    <a:lnTo>
                      <a:pt x="54" y="24"/>
                    </a:lnTo>
                    <a:lnTo>
                      <a:pt x="28" y="24"/>
                    </a:lnTo>
                    <a:lnTo>
                      <a:pt x="28" y="63"/>
                    </a:lnTo>
                    <a:lnTo>
                      <a:pt x="54" y="63"/>
                    </a:lnTo>
                    <a:cubicBezTo>
                      <a:pt x="67" y="63"/>
                      <a:pt x="75" y="55"/>
                      <a:pt x="75" y="44"/>
                    </a:cubicBezTo>
                    <a:cubicBezTo>
                      <a:pt x="75" y="32"/>
                      <a:pt x="67" y="24"/>
                      <a:pt x="54" y="24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4" name="Freeform 30"/>
              <p:cNvSpPr>
                <a:spLocks noEditPoints="1"/>
              </p:cNvSpPr>
              <p:nvPr/>
            </p:nvSpPr>
            <p:spPr bwMode="auto">
              <a:xfrm>
                <a:off x="3895725" y="-1457326"/>
                <a:ext cx="95250" cy="130175"/>
              </a:xfrm>
              <a:custGeom>
                <a:avLst/>
                <a:gdLst>
                  <a:gd name="T0" fmla="*/ 92 w 106"/>
                  <a:gd name="T1" fmla="*/ 128 h 144"/>
                  <a:gd name="T2" fmla="*/ 92 w 106"/>
                  <a:gd name="T3" fmla="*/ 128 h 144"/>
                  <a:gd name="T4" fmla="*/ 53 w 106"/>
                  <a:gd name="T5" fmla="*/ 144 h 144"/>
                  <a:gd name="T6" fmla="*/ 15 w 106"/>
                  <a:gd name="T7" fmla="*/ 128 h 144"/>
                  <a:gd name="T8" fmla="*/ 1 w 106"/>
                  <a:gd name="T9" fmla="*/ 71 h 144"/>
                  <a:gd name="T10" fmla="*/ 15 w 106"/>
                  <a:gd name="T11" fmla="*/ 15 h 144"/>
                  <a:gd name="T12" fmla="*/ 53 w 106"/>
                  <a:gd name="T13" fmla="*/ 0 h 144"/>
                  <a:gd name="T14" fmla="*/ 92 w 106"/>
                  <a:gd name="T15" fmla="*/ 15 h 144"/>
                  <a:gd name="T16" fmla="*/ 106 w 106"/>
                  <a:gd name="T17" fmla="*/ 71 h 144"/>
                  <a:gd name="T18" fmla="*/ 92 w 106"/>
                  <a:gd name="T19" fmla="*/ 128 h 144"/>
                  <a:gd name="T20" fmla="*/ 71 w 106"/>
                  <a:gd name="T21" fmla="*/ 31 h 144"/>
                  <a:gd name="T22" fmla="*/ 71 w 106"/>
                  <a:gd name="T23" fmla="*/ 31 h 144"/>
                  <a:gd name="T24" fmla="*/ 53 w 106"/>
                  <a:gd name="T25" fmla="*/ 24 h 144"/>
                  <a:gd name="T26" fmla="*/ 35 w 106"/>
                  <a:gd name="T27" fmla="*/ 31 h 144"/>
                  <a:gd name="T28" fmla="*/ 29 w 106"/>
                  <a:gd name="T29" fmla="*/ 71 h 144"/>
                  <a:gd name="T30" fmla="*/ 35 w 106"/>
                  <a:gd name="T31" fmla="*/ 111 h 144"/>
                  <a:gd name="T32" fmla="*/ 53 w 106"/>
                  <a:gd name="T33" fmla="*/ 119 h 144"/>
                  <a:gd name="T34" fmla="*/ 71 w 106"/>
                  <a:gd name="T35" fmla="*/ 111 h 144"/>
                  <a:gd name="T36" fmla="*/ 78 w 106"/>
                  <a:gd name="T37" fmla="*/ 71 h 144"/>
                  <a:gd name="T38" fmla="*/ 71 w 106"/>
                  <a:gd name="T39" fmla="*/ 31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6" h="144">
                    <a:moveTo>
                      <a:pt x="92" y="128"/>
                    </a:moveTo>
                    <a:lnTo>
                      <a:pt x="92" y="128"/>
                    </a:lnTo>
                    <a:cubicBezTo>
                      <a:pt x="82" y="138"/>
                      <a:pt x="70" y="144"/>
                      <a:pt x="53" y="144"/>
                    </a:cubicBezTo>
                    <a:cubicBezTo>
                      <a:pt x="37" y="144"/>
                      <a:pt x="25" y="138"/>
                      <a:pt x="15" y="128"/>
                    </a:cubicBezTo>
                    <a:cubicBezTo>
                      <a:pt x="0" y="114"/>
                      <a:pt x="1" y="96"/>
                      <a:pt x="1" y="71"/>
                    </a:cubicBezTo>
                    <a:cubicBezTo>
                      <a:pt x="1" y="47"/>
                      <a:pt x="0" y="29"/>
                      <a:pt x="15" y="15"/>
                    </a:cubicBezTo>
                    <a:cubicBezTo>
                      <a:pt x="25" y="5"/>
                      <a:pt x="37" y="0"/>
                      <a:pt x="53" y="0"/>
                    </a:cubicBezTo>
                    <a:cubicBezTo>
                      <a:pt x="70" y="0"/>
                      <a:pt x="82" y="5"/>
                      <a:pt x="92" y="15"/>
                    </a:cubicBezTo>
                    <a:cubicBezTo>
                      <a:pt x="106" y="29"/>
                      <a:pt x="106" y="47"/>
                      <a:pt x="106" y="71"/>
                    </a:cubicBezTo>
                    <a:cubicBezTo>
                      <a:pt x="106" y="96"/>
                      <a:pt x="106" y="114"/>
                      <a:pt x="92" y="128"/>
                    </a:cubicBezTo>
                    <a:close/>
                    <a:moveTo>
                      <a:pt x="71" y="31"/>
                    </a:moveTo>
                    <a:lnTo>
                      <a:pt x="71" y="31"/>
                    </a:lnTo>
                    <a:cubicBezTo>
                      <a:pt x="67" y="27"/>
                      <a:pt x="61" y="24"/>
                      <a:pt x="53" y="24"/>
                    </a:cubicBezTo>
                    <a:cubicBezTo>
                      <a:pt x="46" y="24"/>
                      <a:pt x="39" y="27"/>
                      <a:pt x="35" y="31"/>
                    </a:cubicBezTo>
                    <a:cubicBezTo>
                      <a:pt x="30" y="37"/>
                      <a:pt x="29" y="44"/>
                      <a:pt x="29" y="71"/>
                    </a:cubicBezTo>
                    <a:cubicBezTo>
                      <a:pt x="29" y="99"/>
                      <a:pt x="30" y="105"/>
                      <a:pt x="35" y="111"/>
                    </a:cubicBezTo>
                    <a:cubicBezTo>
                      <a:pt x="39" y="116"/>
                      <a:pt x="46" y="119"/>
                      <a:pt x="53" y="119"/>
                    </a:cubicBezTo>
                    <a:cubicBezTo>
                      <a:pt x="61" y="119"/>
                      <a:pt x="67" y="116"/>
                      <a:pt x="71" y="111"/>
                    </a:cubicBezTo>
                    <a:cubicBezTo>
                      <a:pt x="77" y="105"/>
                      <a:pt x="78" y="99"/>
                      <a:pt x="78" y="71"/>
                    </a:cubicBezTo>
                    <a:cubicBezTo>
                      <a:pt x="78" y="44"/>
                      <a:pt x="77" y="37"/>
                      <a:pt x="71" y="3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5" name="Freeform 31"/>
              <p:cNvSpPr>
                <a:spLocks noEditPoints="1"/>
              </p:cNvSpPr>
              <p:nvPr/>
            </p:nvSpPr>
            <p:spPr bwMode="auto">
              <a:xfrm>
                <a:off x="4016375" y="-1457326"/>
                <a:ext cx="95250" cy="128588"/>
              </a:xfrm>
              <a:custGeom>
                <a:avLst/>
                <a:gdLst>
                  <a:gd name="T0" fmla="*/ 75 w 107"/>
                  <a:gd name="T1" fmla="*/ 142 h 142"/>
                  <a:gd name="T2" fmla="*/ 75 w 107"/>
                  <a:gd name="T3" fmla="*/ 142 h 142"/>
                  <a:gd name="T4" fmla="*/ 47 w 107"/>
                  <a:gd name="T5" fmla="*/ 85 h 142"/>
                  <a:gd name="T6" fmla="*/ 27 w 107"/>
                  <a:gd name="T7" fmla="*/ 85 h 142"/>
                  <a:gd name="T8" fmla="*/ 27 w 107"/>
                  <a:gd name="T9" fmla="*/ 142 h 142"/>
                  <a:gd name="T10" fmla="*/ 0 w 107"/>
                  <a:gd name="T11" fmla="*/ 142 h 142"/>
                  <a:gd name="T12" fmla="*/ 0 w 107"/>
                  <a:gd name="T13" fmla="*/ 0 h 142"/>
                  <a:gd name="T14" fmla="*/ 55 w 107"/>
                  <a:gd name="T15" fmla="*/ 0 h 142"/>
                  <a:gd name="T16" fmla="*/ 102 w 107"/>
                  <a:gd name="T17" fmla="*/ 43 h 142"/>
                  <a:gd name="T18" fmla="*/ 76 w 107"/>
                  <a:gd name="T19" fmla="*/ 80 h 142"/>
                  <a:gd name="T20" fmla="*/ 107 w 107"/>
                  <a:gd name="T21" fmla="*/ 142 h 142"/>
                  <a:gd name="T22" fmla="*/ 75 w 107"/>
                  <a:gd name="T23" fmla="*/ 142 h 142"/>
                  <a:gd name="T24" fmla="*/ 54 w 107"/>
                  <a:gd name="T25" fmla="*/ 24 h 142"/>
                  <a:gd name="T26" fmla="*/ 54 w 107"/>
                  <a:gd name="T27" fmla="*/ 24 h 142"/>
                  <a:gd name="T28" fmla="*/ 27 w 107"/>
                  <a:gd name="T29" fmla="*/ 24 h 142"/>
                  <a:gd name="T30" fmla="*/ 27 w 107"/>
                  <a:gd name="T31" fmla="*/ 62 h 142"/>
                  <a:gd name="T32" fmla="*/ 54 w 107"/>
                  <a:gd name="T33" fmla="*/ 62 h 142"/>
                  <a:gd name="T34" fmla="*/ 74 w 107"/>
                  <a:gd name="T35" fmla="*/ 43 h 142"/>
                  <a:gd name="T36" fmla="*/ 54 w 107"/>
                  <a:gd name="T37" fmla="*/ 24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07" h="142">
                    <a:moveTo>
                      <a:pt x="75" y="142"/>
                    </a:moveTo>
                    <a:lnTo>
                      <a:pt x="75" y="142"/>
                    </a:lnTo>
                    <a:lnTo>
                      <a:pt x="47" y="85"/>
                    </a:lnTo>
                    <a:lnTo>
                      <a:pt x="27" y="85"/>
                    </a:lnTo>
                    <a:lnTo>
                      <a:pt x="27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55" y="0"/>
                    </a:lnTo>
                    <a:cubicBezTo>
                      <a:pt x="84" y="0"/>
                      <a:pt x="102" y="19"/>
                      <a:pt x="102" y="43"/>
                    </a:cubicBezTo>
                    <a:cubicBezTo>
                      <a:pt x="102" y="63"/>
                      <a:pt x="89" y="75"/>
                      <a:pt x="76" y="80"/>
                    </a:cubicBezTo>
                    <a:lnTo>
                      <a:pt x="107" y="142"/>
                    </a:lnTo>
                    <a:lnTo>
                      <a:pt x="75" y="142"/>
                    </a:lnTo>
                    <a:close/>
                    <a:moveTo>
                      <a:pt x="54" y="24"/>
                    </a:moveTo>
                    <a:lnTo>
                      <a:pt x="54" y="24"/>
                    </a:lnTo>
                    <a:lnTo>
                      <a:pt x="27" y="24"/>
                    </a:lnTo>
                    <a:lnTo>
                      <a:pt x="27" y="62"/>
                    </a:lnTo>
                    <a:lnTo>
                      <a:pt x="54" y="62"/>
                    </a:lnTo>
                    <a:cubicBezTo>
                      <a:pt x="66" y="62"/>
                      <a:pt x="74" y="54"/>
                      <a:pt x="74" y="43"/>
                    </a:cubicBezTo>
                    <a:cubicBezTo>
                      <a:pt x="74" y="32"/>
                      <a:pt x="66" y="24"/>
                      <a:pt x="54" y="24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6" name="Freeform 32"/>
              <p:cNvSpPr>
                <a:spLocks/>
              </p:cNvSpPr>
              <p:nvPr/>
            </p:nvSpPr>
            <p:spPr bwMode="auto">
              <a:xfrm>
                <a:off x="4122738" y="-1457326"/>
                <a:ext cx="92075" cy="128588"/>
              </a:xfrm>
              <a:custGeom>
                <a:avLst/>
                <a:gdLst>
                  <a:gd name="T0" fmla="*/ 0 w 103"/>
                  <a:gd name="T1" fmla="*/ 0 h 142"/>
                  <a:gd name="T2" fmla="*/ 0 w 103"/>
                  <a:gd name="T3" fmla="*/ 0 h 142"/>
                  <a:gd name="T4" fmla="*/ 0 w 103"/>
                  <a:gd name="T5" fmla="*/ 24 h 142"/>
                  <a:gd name="T6" fmla="*/ 38 w 103"/>
                  <a:gd name="T7" fmla="*/ 24 h 142"/>
                  <a:gd name="T8" fmla="*/ 38 w 103"/>
                  <a:gd name="T9" fmla="*/ 142 h 142"/>
                  <a:gd name="T10" fmla="*/ 65 w 103"/>
                  <a:gd name="T11" fmla="*/ 142 h 142"/>
                  <a:gd name="T12" fmla="*/ 65 w 103"/>
                  <a:gd name="T13" fmla="*/ 24 h 142"/>
                  <a:gd name="T14" fmla="*/ 103 w 103"/>
                  <a:gd name="T15" fmla="*/ 24 h 142"/>
                  <a:gd name="T16" fmla="*/ 103 w 103"/>
                  <a:gd name="T17" fmla="*/ 0 h 142"/>
                  <a:gd name="T18" fmla="*/ 0 w 103"/>
                  <a:gd name="T19" fmla="*/ 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3" h="142">
                    <a:moveTo>
                      <a:pt x="0" y="0"/>
                    </a:moveTo>
                    <a:lnTo>
                      <a:pt x="0" y="0"/>
                    </a:lnTo>
                    <a:lnTo>
                      <a:pt x="0" y="24"/>
                    </a:lnTo>
                    <a:lnTo>
                      <a:pt x="38" y="24"/>
                    </a:lnTo>
                    <a:lnTo>
                      <a:pt x="38" y="142"/>
                    </a:lnTo>
                    <a:lnTo>
                      <a:pt x="65" y="142"/>
                    </a:lnTo>
                    <a:lnTo>
                      <a:pt x="65" y="24"/>
                    </a:lnTo>
                    <a:lnTo>
                      <a:pt x="103" y="24"/>
                    </a:lnTo>
                    <a:lnTo>
                      <a:pt x="103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75" name="Chevrons"/>
          <p:cNvGrpSpPr/>
          <p:nvPr/>
        </p:nvGrpSpPr>
        <p:grpSpPr>
          <a:xfrm>
            <a:off x="4012585" y="1653488"/>
            <a:ext cx="215175" cy="74486"/>
            <a:chOff x="2177378" y="401620"/>
            <a:chExt cx="264150" cy="91440"/>
          </a:xfrm>
          <a:solidFill>
            <a:schemeClr val="accent5"/>
          </a:solidFill>
        </p:grpSpPr>
        <p:sp>
          <p:nvSpPr>
            <p:cNvPr id="315" name="Chevron 314"/>
            <p:cNvSpPr/>
            <p:nvPr/>
          </p:nvSpPr>
          <p:spPr>
            <a:xfrm>
              <a:off x="2177378" y="401620"/>
              <a:ext cx="91440" cy="9144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6" name="Chevron 315"/>
            <p:cNvSpPr/>
            <p:nvPr/>
          </p:nvSpPr>
          <p:spPr>
            <a:xfrm>
              <a:off x="2263733" y="401620"/>
              <a:ext cx="91440" cy="9144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7" name="Chevron 316"/>
            <p:cNvSpPr/>
            <p:nvPr/>
          </p:nvSpPr>
          <p:spPr>
            <a:xfrm>
              <a:off x="2350088" y="401620"/>
              <a:ext cx="91440" cy="9144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" name="Emptying Tan"/>
          <p:cNvGrpSpPr/>
          <p:nvPr/>
        </p:nvGrpSpPr>
        <p:grpSpPr>
          <a:xfrm>
            <a:off x="2687255" y="1464751"/>
            <a:ext cx="1280160" cy="2926080"/>
            <a:chOff x="2687255" y="1464751"/>
            <a:chExt cx="1280160" cy="2926080"/>
          </a:xfrm>
        </p:grpSpPr>
        <p:sp>
          <p:nvSpPr>
            <p:cNvPr id="146" name="Emptying Tan"/>
            <p:cNvSpPr/>
            <p:nvPr/>
          </p:nvSpPr>
          <p:spPr>
            <a:xfrm>
              <a:off x="2687255" y="1464751"/>
              <a:ext cx="1280160" cy="2926080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76" name="Emptying"/>
            <p:cNvGrpSpPr/>
            <p:nvPr/>
          </p:nvGrpSpPr>
          <p:grpSpPr>
            <a:xfrm>
              <a:off x="2982059" y="1637712"/>
              <a:ext cx="690552" cy="106039"/>
              <a:chOff x="2265363" y="-819151"/>
              <a:chExt cx="847725" cy="130175"/>
            </a:xfrm>
            <a:solidFill>
              <a:schemeClr val="accent5">
                <a:lumMod val="75000"/>
              </a:schemeClr>
            </a:solidFill>
          </p:grpSpPr>
          <p:sp>
            <p:nvSpPr>
              <p:cNvPr id="307" name="Freeform 16"/>
              <p:cNvSpPr>
                <a:spLocks/>
              </p:cNvSpPr>
              <p:nvPr/>
            </p:nvSpPr>
            <p:spPr bwMode="auto">
              <a:xfrm>
                <a:off x="2265363" y="-819151"/>
                <a:ext cx="84138" cy="128588"/>
              </a:xfrm>
              <a:custGeom>
                <a:avLst/>
                <a:gdLst>
                  <a:gd name="T0" fmla="*/ 0 w 94"/>
                  <a:gd name="T1" fmla="*/ 142 h 142"/>
                  <a:gd name="T2" fmla="*/ 0 w 94"/>
                  <a:gd name="T3" fmla="*/ 142 h 142"/>
                  <a:gd name="T4" fmla="*/ 0 w 94"/>
                  <a:gd name="T5" fmla="*/ 0 h 142"/>
                  <a:gd name="T6" fmla="*/ 94 w 94"/>
                  <a:gd name="T7" fmla="*/ 0 h 142"/>
                  <a:gd name="T8" fmla="*/ 94 w 94"/>
                  <a:gd name="T9" fmla="*/ 25 h 142"/>
                  <a:gd name="T10" fmla="*/ 28 w 94"/>
                  <a:gd name="T11" fmla="*/ 25 h 142"/>
                  <a:gd name="T12" fmla="*/ 28 w 94"/>
                  <a:gd name="T13" fmla="*/ 58 h 142"/>
                  <a:gd name="T14" fmla="*/ 84 w 94"/>
                  <a:gd name="T15" fmla="*/ 58 h 142"/>
                  <a:gd name="T16" fmla="*/ 84 w 94"/>
                  <a:gd name="T17" fmla="*/ 83 h 142"/>
                  <a:gd name="T18" fmla="*/ 28 w 94"/>
                  <a:gd name="T19" fmla="*/ 83 h 142"/>
                  <a:gd name="T20" fmla="*/ 28 w 94"/>
                  <a:gd name="T21" fmla="*/ 118 h 142"/>
                  <a:gd name="T22" fmla="*/ 94 w 94"/>
                  <a:gd name="T23" fmla="*/ 118 h 142"/>
                  <a:gd name="T24" fmla="*/ 94 w 94"/>
                  <a:gd name="T25" fmla="*/ 142 h 142"/>
                  <a:gd name="T26" fmla="*/ 0 w 94"/>
                  <a:gd name="T27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4" h="142">
                    <a:moveTo>
                      <a:pt x="0" y="142"/>
                    </a:moveTo>
                    <a:lnTo>
                      <a:pt x="0" y="142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94" y="25"/>
                    </a:lnTo>
                    <a:lnTo>
                      <a:pt x="28" y="25"/>
                    </a:lnTo>
                    <a:lnTo>
                      <a:pt x="28" y="58"/>
                    </a:lnTo>
                    <a:lnTo>
                      <a:pt x="84" y="58"/>
                    </a:lnTo>
                    <a:lnTo>
                      <a:pt x="84" y="83"/>
                    </a:lnTo>
                    <a:lnTo>
                      <a:pt x="28" y="83"/>
                    </a:lnTo>
                    <a:lnTo>
                      <a:pt x="28" y="118"/>
                    </a:lnTo>
                    <a:lnTo>
                      <a:pt x="94" y="118"/>
                    </a:lnTo>
                    <a:lnTo>
                      <a:pt x="94" y="142"/>
                    </a:lnTo>
                    <a:lnTo>
                      <a:pt x="0" y="14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8" name="Freeform 17"/>
              <p:cNvSpPr>
                <a:spLocks/>
              </p:cNvSpPr>
              <p:nvPr/>
            </p:nvSpPr>
            <p:spPr bwMode="auto">
              <a:xfrm>
                <a:off x="2371725" y="-819151"/>
                <a:ext cx="115888" cy="128588"/>
              </a:xfrm>
              <a:custGeom>
                <a:avLst/>
                <a:gdLst>
                  <a:gd name="T0" fmla="*/ 101 w 129"/>
                  <a:gd name="T1" fmla="*/ 142 h 142"/>
                  <a:gd name="T2" fmla="*/ 101 w 129"/>
                  <a:gd name="T3" fmla="*/ 142 h 142"/>
                  <a:gd name="T4" fmla="*/ 101 w 129"/>
                  <a:gd name="T5" fmla="*/ 59 h 142"/>
                  <a:gd name="T6" fmla="*/ 74 w 129"/>
                  <a:gd name="T7" fmla="*/ 113 h 142"/>
                  <a:gd name="T8" fmla="*/ 55 w 129"/>
                  <a:gd name="T9" fmla="*/ 113 h 142"/>
                  <a:gd name="T10" fmla="*/ 28 w 129"/>
                  <a:gd name="T11" fmla="*/ 59 h 142"/>
                  <a:gd name="T12" fmla="*/ 28 w 129"/>
                  <a:gd name="T13" fmla="*/ 142 h 142"/>
                  <a:gd name="T14" fmla="*/ 0 w 129"/>
                  <a:gd name="T15" fmla="*/ 142 h 142"/>
                  <a:gd name="T16" fmla="*/ 0 w 129"/>
                  <a:gd name="T17" fmla="*/ 0 h 142"/>
                  <a:gd name="T18" fmla="*/ 27 w 129"/>
                  <a:gd name="T19" fmla="*/ 0 h 142"/>
                  <a:gd name="T20" fmla="*/ 64 w 129"/>
                  <a:gd name="T21" fmla="*/ 77 h 142"/>
                  <a:gd name="T22" fmla="*/ 101 w 129"/>
                  <a:gd name="T23" fmla="*/ 0 h 142"/>
                  <a:gd name="T24" fmla="*/ 129 w 129"/>
                  <a:gd name="T25" fmla="*/ 0 h 142"/>
                  <a:gd name="T26" fmla="*/ 129 w 129"/>
                  <a:gd name="T27" fmla="*/ 142 h 142"/>
                  <a:gd name="T28" fmla="*/ 101 w 129"/>
                  <a:gd name="T29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9" h="142">
                    <a:moveTo>
                      <a:pt x="101" y="142"/>
                    </a:moveTo>
                    <a:lnTo>
                      <a:pt x="101" y="142"/>
                    </a:lnTo>
                    <a:lnTo>
                      <a:pt x="101" y="59"/>
                    </a:lnTo>
                    <a:lnTo>
                      <a:pt x="74" y="113"/>
                    </a:lnTo>
                    <a:lnTo>
                      <a:pt x="55" y="113"/>
                    </a:lnTo>
                    <a:lnTo>
                      <a:pt x="28" y="59"/>
                    </a:lnTo>
                    <a:lnTo>
                      <a:pt x="28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27" y="0"/>
                    </a:lnTo>
                    <a:lnTo>
                      <a:pt x="64" y="77"/>
                    </a:lnTo>
                    <a:lnTo>
                      <a:pt x="101" y="0"/>
                    </a:lnTo>
                    <a:lnTo>
                      <a:pt x="129" y="0"/>
                    </a:lnTo>
                    <a:lnTo>
                      <a:pt x="129" y="142"/>
                    </a:lnTo>
                    <a:lnTo>
                      <a:pt x="101" y="14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9" name="Freeform 18"/>
              <p:cNvSpPr>
                <a:spLocks noEditPoints="1"/>
              </p:cNvSpPr>
              <p:nvPr/>
            </p:nvSpPr>
            <p:spPr bwMode="auto">
              <a:xfrm>
                <a:off x="2516188" y="-819151"/>
                <a:ext cx="90488" cy="128588"/>
              </a:xfrm>
              <a:custGeom>
                <a:avLst/>
                <a:gdLst>
                  <a:gd name="T0" fmla="*/ 55 w 102"/>
                  <a:gd name="T1" fmla="*/ 89 h 142"/>
                  <a:gd name="T2" fmla="*/ 55 w 102"/>
                  <a:gd name="T3" fmla="*/ 89 h 142"/>
                  <a:gd name="T4" fmla="*/ 28 w 102"/>
                  <a:gd name="T5" fmla="*/ 89 h 142"/>
                  <a:gd name="T6" fmla="*/ 28 w 102"/>
                  <a:gd name="T7" fmla="*/ 142 h 142"/>
                  <a:gd name="T8" fmla="*/ 0 w 102"/>
                  <a:gd name="T9" fmla="*/ 142 h 142"/>
                  <a:gd name="T10" fmla="*/ 0 w 102"/>
                  <a:gd name="T11" fmla="*/ 0 h 142"/>
                  <a:gd name="T12" fmla="*/ 55 w 102"/>
                  <a:gd name="T13" fmla="*/ 0 h 142"/>
                  <a:gd name="T14" fmla="*/ 102 w 102"/>
                  <a:gd name="T15" fmla="*/ 44 h 142"/>
                  <a:gd name="T16" fmla="*/ 55 w 102"/>
                  <a:gd name="T17" fmla="*/ 89 h 142"/>
                  <a:gd name="T18" fmla="*/ 54 w 102"/>
                  <a:gd name="T19" fmla="*/ 25 h 142"/>
                  <a:gd name="T20" fmla="*/ 54 w 102"/>
                  <a:gd name="T21" fmla="*/ 25 h 142"/>
                  <a:gd name="T22" fmla="*/ 28 w 102"/>
                  <a:gd name="T23" fmla="*/ 25 h 142"/>
                  <a:gd name="T24" fmla="*/ 28 w 102"/>
                  <a:gd name="T25" fmla="*/ 64 h 142"/>
                  <a:gd name="T26" fmla="*/ 54 w 102"/>
                  <a:gd name="T27" fmla="*/ 64 h 142"/>
                  <a:gd name="T28" fmla="*/ 74 w 102"/>
                  <a:gd name="T29" fmla="*/ 44 h 142"/>
                  <a:gd name="T30" fmla="*/ 54 w 102"/>
                  <a:gd name="T31" fmla="*/ 25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2" h="142">
                    <a:moveTo>
                      <a:pt x="55" y="89"/>
                    </a:moveTo>
                    <a:lnTo>
                      <a:pt x="55" y="89"/>
                    </a:lnTo>
                    <a:lnTo>
                      <a:pt x="28" y="89"/>
                    </a:lnTo>
                    <a:lnTo>
                      <a:pt x="28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55" y="0"/>
                    </a:lnTo>
                    <a:cubicBezTo>
                      <a:pt x="84" y="0"/>
                      <a:pt x="102" y="20"/>
                      <a:pt x="102" y="44"/>
                    </a:cubicBezTo>
                    <a:cubicBezTo>
                      <a:pt x="102" y="68"/>
                      <a:pt x="84" y="89"/>
                      <a:pt x="55" y="89"/>
                    </a:cubicBezTo>
                    <a:close/>
                    <a:moveTo>
                      <a:pt x="54" y="25"/>
                    </a:moveTo>
                    <a:lnTo>
                      <a:pt x="54" y="25"/>
                    </a:lnTo>
                    <a:lnTo>
                      <a:pt x="28" y="25"/>
                    </a:lnTo>
                    <a:lnTo>
                      <a:pt x="28" y="64"/>
                    </a:lnTo>
                    <a:lnTo>
                      <a:pt x="54" y="64"/>
                    </a:lnTo>
                    <a:cubicBezTo>
                      <a:pt x="66" y="64"/>
                      <a:pt x="74" y="56"/>
                      <a:pt x="74" y="44"/>
                    </a:cubicBezTo>
                    <a:cubicBezTo>
                      <a:pt x="74" y="33"/>
                      <a:pt x="66" y="25"/>
                      <a:pt x="54" y="2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0" name="Freeform 19"/>
              <p:cNvSpPr>
                <a:spLocks/>
              </p:cNvSpPr>
              <p:nvPr/>
            </p:nvSpPr>
            <p:spPr bwMode="auto">
              <a:xfrm>
                <a:off x="2620963" y="-819151"/>
                <a:ext cx="90488" cy="128588"/>
              </a:xfrm>
              <a:custGeom>
                <a:avLst/>
                <a:gdLst>
                  <a:gd name="T0" fmla="*/ 65 w 102"/>
                  <a:gd name="T1" fmla="*/ 25 h 142"/>
                  <a:gd name="T2" fmla="*/ 65 w 102"/>
                  <a:gd name="T3" fmla="*/ 25 h 142"/>
                  <a:gd name="T4" fmla="*/ 65 w 102"/>
                  <a:gd name="T5" fmla="*/ 142 h 142"/>
                  <a:gd name="T6" fmla="*/ 37 w 102"/>
                  <a:gd name="T7" fmla="*/ 142 h 142"/>
                  <a:gd name="T8" fmla="*/ 37 w 102"/>
                  <a:gd name="T9" fmla="*/ 25 h 142"/>
                  <a:gd name="T10" fmla="*/ 0 w 102"/>
                  <a:gd name="T11" fmla="*/ 25 h 142"/>
                  <a:gd name="T12" fmla="*/ 0 w 102"/>
                  <a:gd name="T13" fmla="*/ 0 h 142"/>
                  <a:gd name="T14" fmla="*/ 102 w 102"/>
                  <a:gd name="T15" fmla="*/ 0 h 142"/>
                  <a:gd name="T16" fmla="*/ 102 w 102"/>
                  <a:gd name="T17" fmla="*/ 25 h 142"/>
                  <a:gd name="T18" fmla="*/ 65 w 102"/>
                  <a:gd name="T19" fmla="*/ 25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42">
                    <a:moveTo>
                      <a:pt x="65" y="25"/>
                    </a:moveTo>
                    <a:lnTo>
                      <a:pt x="65" y="25"/>
                    </a:lnTo>
                    <a:lnTo>
                      <a:pt x="65" y="142"/>
                    </a:lnTo>
                    <a:lnTo>
                      <a:pt x="37" y="142"/>
                    </a:lnTo>
                    <a:lnTo>
                      <a:pt x="37" y="25"/>
                    </a:lnTo>
                    <a:lnTo>
                      <a:pt x="0" y="25"/>
                    </a:lnTo>
                    <a:lnTo>
                      <a:pt x="0" y="0"/>
                    </a:lnTo>
                    <a:lnTo>
                      <a:pt x="102" y="0"/>
                    </a:lnTo>
                    <a:lnTo>
                      <a:pt x="102" y="25"/>
                    </a:lnTo>
                    <a:lnTo>
                      <a:pt x="65" y="2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1" name="Freeform 20"/>
              <p:cNvSpPr>
                <a:spLocks/>
              </p:cNvSpPr>
              <p:nvPr/>
            </p:nvSpPr>
            <p:spPr bwMode="auto">
              <a:xfrm>
                <a:off x="2725738" y="-819151"/>
                <a:ext cx="100013" cy="128588"/>
              </a:xfrm>
              <a:custGeom>
                <a:avLst/>
                <a:gdLst>
                  <a:gd name="T0" fmla="*/ 70 w 113"/>
                  <a:gd name="T1" fmla="*/ 84 h 142"/>
                  <a:gd name="T2" fmla="*/ 70 w 113"/>
                  <a:gd name="T3" fmla="*/ 84 h 142"/>
                  <a:gd name="T4" fmla="*/ 70 w 113"/>
                  <a:gd name="T5" fmla="*/ 142 h 142"/>
                  <a:gd name="T6" fmla="*/ 43 w 113"/>
                  <a:gd name="T7" fmla="*/ 142 h 142"/>
                  <a:gd name="T8" fmla="*/ 43 w 113"/>
                  <a:gd name="T9" fmla="*/ 84 h 142"/>
                  <a:gd name="T10" fmla="*/ 0 w 113"/>
                  <a:gd name="T11" fmla="*/ 0 h 142"/>
                  <a:gd name="T12" fmla="*/ 30 w 113"/>
                  <a:gd name="T13" fmla="*/ 0 h 142"/>
                  <a:gd name="T14" fmla="*/ 57 w 113"/>
                  <a:gd name="T15" fmla="*/ 57 h 142"/>
                  <a:gd name="T16" fmla="*/ 83 w 113"/>
                  <a:gd name="T17" fmla="*/ 0 h 142"/>
                  <a:gd name="T18" fmla="*/ 113 w 113"/>
                  <a:gd name="T19" fmla="*/ 0 h 142"/>
                  <a:gd name="T20" fmla="*/ 70 w 113"/>
                  <a:gd name="T21" fmla="*/ 84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3" h="142">
                    <a:moveTo>
                      <a:pt x="70" y="84"/>
                    </a:moveTo>
                    <a:lnTo>
                      <a:pt x="70" y="84"/>
                    </a:lnTo>
                    <a:lnTo>
                      <a:pt x="70" y="142"/>
                    </a:lnTo>
                    <a:lnTo>
                      <a:pt x="43" y="142"/>
                    </a:lnTo>
                    <a:lnTo>
                      <a:pt x="43" y="84"/>
                    </a:lnTo>
                    <a:lnTo>
                      <a:pt x="0" y="0"/>
                    </a:lnTo>
                    <a:lnTo>
                      <a:pt x="30" y="0"/>
                    </a:lnTo>
                    <a:lnTo>
                      <a:pt x="57" y="57"/>
                    </a:lnTo>
                    <a:lnTo>
                      <a:pt x="83" y="0"/>
                    </a:lnTo>
                    <a:lnTo>
                      <a:pt x="113" y="0"/>
                    </a:lnTo>
                    <a:lnTo>
                      <a:pt x="70" y="84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2" name="Freeform 21"/>
              <p:cNvSpPr>
                <a:spLocks/>
              </p:cNvSpPr>
              <p:nvPr/>
            </p:nvSpPr>
            <p:spPr bwMode="auto">
              <a:xfrm>
                <a:off x="2843213" y="-819151"/>
                <a:ext cx="25400" cy="128588"/>
              </a:xfrm>
              <a:custGeom>
                <a:avLst/>
                <a:gdLst>
                  <a:gd name="T0" fmla="*/ 0 w 28"/>
                  <a:gd name="T1" fmla="*/ 0 h 142"/>
                  <a:gd name="T2" fmla="*/ 0 w 28"/>
                  <a:gd name="T3" fmla="*/ 0 h 142"/>
                  <a:gd name="T4" fmla="*/ 28 w 28"/>
                  <a:gd name="T5" fmla="*/ 0 h 142"/>
                  <a:gd name="T6" fmla="*/ 28 w 28"/>
                  <a:gd name="T7" fmla="*/ 142 h 142"/>
                  <a:gd name="T8" fmla="*/ 0 w 28"/>
                  <a:gd name="T9" fmla="*/ 142 h 142"/>
                  <a:gd name="T10" fmla="*/ 0 w 28"/>
                  <a:gd name="T11" fmla="*/ 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142">
                    <a:moveTo>
                      <a:pt x="0" y="0"/>
                    </a:moveTo>
                    <a:lnTo>
                      <a:pt x="0" y="0"/>
                    </a:lnTo>
                    <a:lnTo>
                      <a:pt x="28" y="0"/>
                    </a:lnTo>
                    <a:lnTo>
                      <a:pt x="28" y="142"/>
                    </a:lnTo>
                    <a:lnTo>
                      <a:pt x="0" y="14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3" name="Freeform 22"/>
              <p:cNvSpPr>
                <a:spLocks/>
              </p:cNvSpPr>
              <p:nvPr/>
            </p:nvSpPr>
            <p:spPr bwMode="auto">
              <a:xfrm>
                <a:off x="2897188" y="-819151"/>
                <a:ext cx="96838" cy="128588"/>
              </a:xfrm>
              <a:custGeom>
                <a:avLst/>
                <a:gdLst>
                  <a:gd name="T0" fmla="*/ 84 w 109"/>
                  <a:gd name="T1" fmla="*/ 142 h 142"/>
                  <a:gd name="T2" fmla="*/ 84 w 109"/>
                  <a:gd name="T3" fmla="*/ 142 h 142"/>
                  <a:gd name="T4" fmla="*/ 28 w 109"/>
                  <a:gd name="T5" fmla="*/ 55 h 142"/>
                  <a:gd name="T6" fmla="*/ 28 w 109"/>
                  <a:gd name="T7" fmla="*/ 142 h 142"/>
                  <a:gd name="T8" fmla="*/ 0 w 109"/>
                  <a:gd name="T9" fmla="*/ 142 h 142"/>
                  <a:gd name="T10" fmla="*/ 0 w 109"/>
                  <a:gd name="T11" fmla="*/ 0 h 142"/>
                  <a:gd name="T12" fmla="*/ 25 w 109"/>
                  <a:gd name="T13" fmla="*/ 0 h 142"/>
                  <a:gd name="T14" fmla="*/ 81 w 109"/>
                  <a:gd name="T15" fmla="*/ 87 h 142"/>
                  <a:gd name="T16" fmla="*/ 81 w 109"/>
                  <a:gd name="T17" fmla="*/ 0 h 142"/>
                  <a:gd name="T18" fmla="*/ 109 w 109"/>
                  <a:gd name="T19" fmla="*/ 0 h 142"/>
                  <a:gd name="T20" fmla="*/ 109 w 109"/>
                  <a:gd name="T21" fmla="*/ 142 h 142"/>
                  <a:gd name="T22" fmla="*/ 84 w 109"/>
                  <a:gd name="T23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9" h="142">
                    <a:moveTo>
                      <a:pt x="84" y="142"/>
                    </a:moveTo>
                    <a:lnTo>
                      <a:pt x="84" y="142"/>
                    </a:lnTo>
                    <a:lnTo>
                      <a:pt x="28" y="55"/>
                    </a:lnTo>
                    <a:lnTo>
                      <a:pt x="28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25" y="0"/>
                    </a:lnTo>
                    <a:lnTo>
                      <a:pt x="81" y="87"/>
                    </a:lnTo>
                    <a:lnTo>
                      <a:pt x="81" y="0"/>
                    </a:lnTo>
                    <a:lnTo>
                      <a:pt x="109" y="0"/>
                    </a:lnTo>
                    <a:lnTo>
                      <a:pt x="109" y="142"/>
                    </a:lnTo>
                    <a:lnTo>
                      <a:pt x="84" y="14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4" name="Freeform 23"/>
              <p:cNvSpPr>
                <a:spLocks/>
              </p:cNvSpPr>
              <p:nvPr/>
            </p:nvSpPr>
            <p:spPr bwMode="auto">
              <a:xfrm>
                <a:off x="3017838" y="-819151"/>
                <a:ext cx="95250" cy="130175"/>
              </a:xfrm>
              <a:custGeom>
                <a:avLst/>
                <a:gdLst>
                  <a:gd name="T0" fmla="*/ 93 w 107"/>
                  <a:gd name="T1" fmla="*/ 128 h 145"/>
                  <a:gd name="T2" fmla="*/ 93 w 107"/>
                  <a:gd name="T3" fmla="*/ 128 h 145"/>
                  <a:gd name="T4" fmla="*/ 53 w 107"/>
                  <a:gd name="T5" fmla="*/ 145 h 145"/>
                  <a:gd name="T6" fmla="*/ 15 w 107"/>
                  <a:gd name="T7" fmla="*/ 129 h 145"/>
                  <a:gd name="T8" fmla="*/ 1 w 107"/>
                  <a:gd name="T9" fmla="*/ 72 h 145"/>
                  <a:gd name="T10" fmla="*/ 15 w 107"/>
                  <a:gd name="T11" fmla="*/ 15 h 145"/>
                  <a:gd name="T12" fmla="*/ 53 w 107"/>
                  <a:gd name="T13" fmla="*/ 0 h 145"/>
                  <a:gd name="T14" fmla="*/ 107 w 107"/>
                  <a:gd name="T15" fmla="*/ 45 h 145"/>
                  <a:gd name="T16" fmla="*/ 79 w 107"/>
                  <a:gd name="T17" fmla="*/ 45 h 145"/>
                  <a:gd name="T18" fmla="*/ 53 w 107"/>
                  <a:gd name="T19" fmla="*/ 25 h 145"/>
                  <a:gd name="T20" fmla="*/ 35 w 107"/>
                  <a:gd name="T21" fmla="*/ 32 h 145"/>
                  <a:gd name="T22" fmla="*/ 29 w 107"/>
                  <a:gd name="T23" fmla="*/ 72 h 145"/>
                  <a:gd name="T24" fmla="*/ 35 w 107"/>
                  <a:gd name="T25" fmla="*/ 112 h 145"/>
                  <a:gd name="T26" fmla="*/ 53 w 107"/>
                  <a:gd name="T27" fmla="*/ 120 h 145"/>
                  <a:gd name="T28" fmla="*/ 73 w 107"/>
                  <a:gd name="T29" fmla="*/ 112 h 145"/>
                  <a:gd name="T30" fmla="*/ 79 w 107"/>
                  <a:gd name="T31" fmla="*/ 93 h 145"/>
                  <a:gd name="T32" fmla="*/ 79 w 107"/>
                  <a:gd name="T33" fmla="*/ 87 h 145"/>
                  <a:gd name="T34" fmla="*/ 53 w 107"/>
                  <a:gd name="T35" fmla="*/ 87 h 145"/>
                  <a:gd name="T36" fmla="*/ 53 w 107"/>
                  <a:gd name="T37" fmla="*/ 64 h 145"/>
                  <a:gd name="T38" fmla="*/ 107 w 107"/>
                  <a:gd name="T39" fmla="*/ 64 h 145"/>
                  <a:gd name="T40" fmla="*/ 107 w 107"/>
                  <a:gd name="T41" fmla="*/ 85 h 145"/>
                  <a:gd name="T42" fmla="*/ 93 w 107"/>
                  <a:gd name="T43" fmla="*/ 128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07" h="145">
                    <a:moveTo>
                      <a:pt x="93" y="128"/>
                    </a:moveTo>
                    <a:lnTo>
                      <a:pt x="93" y="128"/>
                    </a:lnTo>
                    <a:cubicBezTo>
                      <a:pt x="82" y="140"/>
                      <a:pt x="68" y="145"/>
                      <a:pt x="53" y="145"/>
                    </a:cubicBezTo>
                    <a:cubicBezTo>
                      <a:pt x="38" y="145"/>
                      <a:pt x="25" y="139"/>
                      <a:pt x="15" y="129"/>
                    </a:cubicBezTo>
                    <a:cubicBezTo>
                      <a:pt x="0" y="115"/>
                      <a:pt x="1" y="97"/>
                      <a:pt x="1" y="72"/>
                    </a:cubicBezTo>
                    <a:cubicBezTo>
                      <a:pt x="1" y="48"/>
                      <a:pt x="0" y="30"/>
                      <a:pt x="15" y="15"/>
                    </a:cubicBezTo>
                    <a:cubicBezTo>
                      <a:pt x="25" y="5"/>
                      <a:pt x="37" y="0"/>
                      <a:pt x="53" y="0"/>
                    </a:cubicBezTo>
                    <a:cubicBezTo>
                      <a:pt x="86" y="0"/>
                      <a:pt x="103" y="21"/>
                      <a:pt x="107" y="45"/>
                    </a:cubicBezTo>
                    <a:lnTo>
                      <a:pt x="79" y="45"/>
                    </a:lnTo>
                    <a:cubicBezTo>
                      <a:pt x="76" y="32"/>
                      <a:pt x="67" y="25"/>
                      <a:pt x="53" y="25"/>
                    </a:cubicBezTo>
                    <a:cubicBezTo>
                      <a:pt x="46" y="25"/>
                      <a:pt x="39" y="28"/>
                      <a:pt x="35" y="32"/>
                    </a:cubicBezTo>
                    <a:cubicBezTo>
                      <a:pt x="30" y="38"/>
                      <a:pt x="29" y="45"/>
                      <a:pt x="29" y="72"/>
                    </a:cubicBezTo>
                    <a:cubicBezTo>
                      <a:pt x="29" y="100"/>
                      <a:pt x="30" y="106"/>
                      <a:pt x="35" y="112"/>
                    </a:cubicBezTo>
                    <a:cubicBezTo>
                      <a:pt x="39" y="117"/>
                      <a:pt x="46" y="120"/>
                      <a:pt x="53" y="120"/>
                    </a:cubicBezTo>
                    <a:cubicBezTo>
                      <a:pt x="62" y="120"/>
                      <a:pt x="68" y="117"/>
                      <a:pt x="73" y="112"/>
                    </a:cubicBezTo>
                    <a:cubicBezTo>
                      <a:pt x="78" y="107"/>
                      <a:pt x="79" y="100"/>
                      <a:pt x="79" y="93"/>
                    </a:cubicBezTo>
                    <a:lnTo>
                      <a:pt x="79" y="87"/>
                    </a:lnTo>
                    <a:lnTo>
                      <a:pt x="53" y="87"/>
                    </a:lnTo>
                    <a:lnTo>
                      <a:pt x="53" y="64"/>
                    </a:lnTo>
                    <a:lnTo>
                      <a:pt x="107" y="64"/>
                    </a:lnTo>
                    <a:lnTo>
                      <a:pt x="107" y="85"/>
                    </a:lnTo>
                    <a:cubicBezTo>
                      <a:pt x="107" y="106"/>
                      <a:pt x="103" y="118"/>
                      <a:pt x="93" y="128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286" name="Chevrons"/>
          <p:cNvGrpSpPr/>
          <p:nvPr/>
        </p:nvGrpSpPr>
        <p:grpSpPr>
          <a:xfrm>
            <a:off x="2431388" y="1653488"/>
            <a:ext cx="215175" cy="74486"/>
            <a:chOff x="2177378" y="401620"/>
            <a:chExt cx="264150" cy="91440"/>
          </a:xfrm>
          <a:solidFill>
            <a:schemeClr val="accent5"/>
          </a:solidFill>
        </p:grpSpPr>
        <p:sp>
          <p:nvSpPr>
            <p:cNvPr id="304" name="Chevron 303"/>
            <p:cNvSpPr/>
            <p:nvPr/>
          </p:nvSpPr>
          <p:spPr>
            <a:xfrm>
              <a:off x="2177378" y="401620"/>
              <a:ext cx="91440" cy="9144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5" name="Chevron 304"/>
            <p:cNvSpPr/>
            <p:nvPr/>
          </p:nvSpPr>
          <p:spPr>
            <a:xfrm>
              <a:off x="2263733" y="401620"/>
              <a:ext cx="91440" cy="9144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6" name="Chevron 305"/>
            <p:cNvSpPr/>
            <p:nvPr/>
          </p:nvSpPr>
          <p:spPr>
            <a:xfrm>
              <a:off x="2350088" y="401620"/>
              <a:ext cx="91440" cy="91440"/>
            </a:xfrm>
            <a:prstGeom prst="chevr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" name="Containment Tan"/>
          <p:cNvGrpSpPr/>
          <p:nvPr/>
        </p:nvGrpSpPr>
        <p:grpSpPr>
          <a:xfrm>
            <a:off x="1106424" y="1463039"/>
            <a:ext cx="1280160" cy="2927792"/>
            <a:chOff x="1106424" y="1463039"/>
            <a:chExt cx="1280160" cy="2927792"/>
          </a:xfrm>
        </p:grpSpPr>
        <p:sp>
          <p:nvSpPr>
            <p:cNvPr id="214" name="Containment Tan"/>
            <p:cNvSpPr/>
            <p:nvPr/>
          </p:nvSpPr>
          <p:spPr>
            <a:xfrm>
              <a:off x="1106424" y="1463039"/>
              <a:ext cx="1280160" cy="2927792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287" name="Containment Tan text"/>
            <p:cNvGrpSpPr/>
            <p:nvPr/>
          </p:nvGrpSpPr>
          <p:grpSpPr>
            <a:xfrm>
              <a:off x="1258662" y="1637712"/>
              <a:ext cx="978930" cy="106039"/>
              <a:chOff x="85725" y="-819151"/>
              <a:chExt cx="1201738" cy="130175"/>
            </a:xfrm>
            <a:solidFill>
              <a:schemeClr val="accent5">
                <a:lumMod val="75000"/>
              </a:schemeClr>
            </a:solidFill>
          </p:grpSpPr>
          <p:sp>
            <p:nvSpPr>
              <p:cNvPr id="293" name="Freeform 5"/>
              <p:cNvSpPr>
                <a:spLocks/>
              </p:cNvSpPr>
              <p:nvPr/>
            </p:nvSpPr>
            <p:spPr bwMode="auto">
              <a:xfrm>
                <a:off x="85725" y="-819151"/>
                <a:ext cx="92075" cy="130175"/>
              </a:xfrm>
              <a:custGeom>
                <a:avLst/>
                <a:gdLst>
                  <a:gd name="T0" fmla="*/ 52 w 104"/>
                  <a:gd name="T1" fmla="*/ 144 h 144"/>
                  <a:gd name="T2" fmla="*/ 52 w 104"/>
                  <a:gd name="T3" fmla="*/ 144 h 144"/>
                  <a:gd name="T4" fmla="*/ 14 w 104"/>
                  <a:gd name="T5" fmla="*/ 129 h 144"/>
                  <a:gd name="T6" fmla="*/ 0 w 104"/>
                  <a:gd name="T7" fmla="*/ 72 h 144"/>
                  <a:gd name="T8" fmla="*/ 14 w 104"/>
                  <a:gd name="T9" fmla="*/ 15 h 144"/>
                  <a:gd name="T10" fmla="*/ 52 w 104"/>
                  <a:gd name="T11" fmla="*/ 0 h 144"/>
                  <a:gd name="T12" fmla="*/ 104 w 104"/>
                  <a:gd name="T13" fmla="*/ 45 h 144"/>
                  <a:gd name="T14" fmla="*/ 76 w 104"/>
                  <a:gd name="T15" fmla="*/ 45 h 144"/>
                  <a:gd name="T16" fmla="*/ 52 w 104"/>
                  <a:gd name="T17" fmla="*/ 25 h 144"/>
                  <a:gd name="T18" fmla="*/ 34 w 104"/>
                  <a:gd name="T19" fmla="*/ 32 h 144"/>
                  <a:gd name="T20" fmla="*/ 27 w 104"/>
                  <a:gd name="T21" fmla="*/ 72 h 144"/>
                  <a:gd name="T22" fmla="*/ 34 w 104"/>
                  <a:gd name="T23" fmla="*/ 112 h 144"/>
                  <a:gd name="T24" fmla="*/ 52 w 104"/>
                  <a:gd name="T25" fmla="*/ 120 h 144"/>
                  <a:gd name="T26" fmla="*/ 76 w 104"/>
                  <a:gd name="T27" fmla="*/ 99 h 144"/>
                  <a:gd name="T28" fmla="*/ 104 w 104"/>
                  <a:gd name="T29" fmla="*/ 99 h 144"/>
                  <a:gd name="T30" fmla="*/ 52 w 104"/>
                  <a:gd name="T31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4" h="144">
                    <a:moveTo>
                      <a:pt x="52" y="144"/>
                    </a:moveTo>
                    <a:lnTo>
                      <a:pt x="52" y="144"/>
                    </a:lnTo>
                    <a:cubicBezTo>
                      <a:pt x="36" y="144"/>
                      <a:pt x="24" y="139"/>
                      <a:pt x="14" y="129"/>
                    </a:cubicBezTo>
                    <a:cubicBezTo>
                      <a:pt x="0" y="114"/>
                      <a:pt x="0" y="97"/>
                      <a:pt x="0" y="72"/>
                    </a:cubicBezTo>
                    <a:cubicBezTo>
                      <a:pt x="0" y="48"/>
                      <a:pt x="0" y="30"/>
                      <a:pt x="14" y="15"/>
                    </a:cubicBezTo>
                    <a:cubicBezTo>
                      <a:pt x="24" y="5"/>
                      <a:pt x="36" y="0"/>
                      <a:pt x="52" y="0"/>
                    </a:cubicBezTo>
                    <a:cubicBezTo>
                      <a:pt x="78" y="0"/>
                      <a:pt x="99" y="15"/>
                      <a:pt x="104" y="45"/>
                    </a:cubicBezTo>
                    <a:lnTo>
                      <a:pt x="76" y="45"/>
                    </a:lnTo>
                    <a:cubicBezTo>
                      <a:pt x="73" y="33"/>
                      <a:pt x="66" y="25"/>
                      <a:pt x="52" y="25"/>
                    </a:cubicBezTo>
                    <a:cubicBezTo>
                      <a:pt x="44" y="25"/>
                      <a:pt x="38" y="27"/>
                      <a:pt x="34" y="32"/>
                    </a:cubicBezTo>
                    <a:cubicBezTo>
                      <a:pt x="29" y="38"/>
                      <a:pt x="27" y="45"/>
                      <a:pt x="27" y="72"/>
                    </a:cubicBezTo>
                    <a:cubicBezTo>
                      <a:pt x="27" y="99"/>
                      <a:pt x="29" y="106"/>
                      <a:pt x="34" y="112"/>
                    </a:cubicBezTo>
                    <a:cubicBezTo>
                      <a:pt x="38" y="117"/>
                      <a:pt x="44" y="120"/>
                      <a:pt x="52" y="120"/>
                    </a:cubicBezTo>
                    <a:cubicBezTo>
                      <a:pt x="66" y="120"/>
                      <a:pt x="73" y="111"/>
                      <a:pt x="76" y="99"/>
                    </a:cubicBezTo>
                    <a:lnTo>
                      <a:pt x="104" y="99"/>
                    </a:lnTo>
                    <a:cubicBezTo>
                      <a:pt x="99" y="129"/>
                      <a:pt x="78" y="144"/>
                      <a:pt x="52" y="144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4" name="Freeform 6"/>
              <p:cNvSpPr>
                <a:spLocks noEditPoints="1"/>
              </p:cNvSpPr>
              <p:nvPr/>
            </p:nvSpPr>
            <p:spPr bwMode="auto">
              <a:xfrm>
                <a:off x="196850" y="-819151"/>
                <a:ext cx="93663" cy="130175"/>
              </a:xfrm>
              <a:custGeom>
                <a:avLst/>
                <a:gdLst>
                  <a:gd name="T0" fmla="*/ 91 w 105"/>
                  <a:gd name="T1" fmla="*/ 129 h 144"/>
                  <a:gd name="T2" fmla="*/ 91 w 105"/>
                  <a:gd name="T3" fmla="*/ 129 h 144"/>
                  <a:gd name="T4" fmla="*/ 53 w 105"/>
                  <a:gd name="T5" fmla="*/ 144 h 144"/>
                  <a:gd name="T6" fmla="*/ 14 w 105"/>
                  <a:gd name="T7" fmla="*/ 129 h 144"/>
                  <a:gd name="T8" fmla="*/ 0 w 105"/>
                  <a:gd name="T9" fmla="*/ 72 h 144"/>
                  <a:gd name="T10" fmla="*/ 14 w 105"/>
                  <a:gd name="T11" fmla="*/ 15 h 144"/>
                  <a:gd name="T12" fmla="*/ 53 w 105"/>
                  <a:gd name="T13" fmla="*/ 0 h 144"/>
                  <a:gd name="T14" fmla="*/ 91 w 105"/>
                  <a:gd name="T15" fmla="*/ 15 h 144"/>
                  <a:gd name="T16" fmla="*/ 105 w 105"/>
                  <a:gd name="T17" fmla="*/ 72 h 144"/>
                  <a:gd name="T18" fmla="*/ 91 w 105"/>
                  <a:gd name="T19" fmla="*/ 129 h 144"/>
                  <a:gd name="T20" fmla="*/ 70 w 105"/>
                  <a:gd name="T21" fmla="*/ 32 h 144"/>
                  <a:gd name="T22" fmla="*/ 70 w 105"/>
                  <a:gd name="T23" fmla="*/ 32 h 144"/>
                  <a:gd name="T24" fmla="*/ 53 w 105"/>
                  <a:gd name="T25" fmla="*/ 25 h 144"/>
                  <a:gd name="T26" fmla="*/ 35 w 105"/>
                  <a:gd name="T27" fmla="*/ 32 h 144"/>
                  <a:gd name="T28" fmla="*/ 28 w 105"/>
                  <a:gd name="T29" fmla="*/ 72 h 144"/>
                  <a:gd name="T30" fmla="*/ 35 w 105"/>
                  <a:gd name="T31" fmla="*/ 112 h 144"/>
                  <a:gd name="T32" fmla="*/ 53 w 105"/>
                  <a:gd name="T33" fmla="*/ 120 h 144"/>
                  <a:gd name="T34" fmla="*/ 70 w 105"/>
                  <a:gd name="T35" fmla="*/ 112 h 144"/>
                  <a:gd name="T36" fmla="*/ 77 w 105"/>
                  <a:gd name="T37" fmla="*/ 72 h 144"/>
                  <a:gd name="T38" fmla="*/ 70 w 105"/>
                  <a:gd name="T39" fmla="*/ 32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05" h="144">
                    <a:moveTo>
                      <a:pt x="91" y="129"/>
                    </a:moveTo>
                    <a:lnTo>
                      <a:pt x="91" y="129"/>
                    </a:lnTo>
                    <a:cubicBezTo>
                      <a:pt x="81" y="139"/>
                      <a:pt x="69" y="144"/>
                      <a:pt x="53" y="144"/>
                    </a:cubicBezTo>
                    <a:cubicBezTo>
                      <a:pt x="36" y="144"/>
                      <a:pt x="24" y="139"/>
                      <a:pt x="14" y="129"/>
                    </a:cubicBezTo>
                    <a:cubicBezTo>
                      <a:pt x="0" y="114"/>
                      <a:pt x="0" y="97"/>
                      <a:pt x="0" y="72"/>
                    </a:cubicBezTo>
                    <a:cubicBezTo>
                      <a:pt x="0" y="48"/>
                      <a:pt x="0" y="30"/>
                      <a:pt x="14" y="15"/>
                    </a:cubicBezTo>
                    <a:cubicBezTo>
                      <a:pt x="24" y="5"/>
                      <a:pt x="36" y="0"/>
                      <a:pt x="53" y="0"/>
                    </a:cubicBezTo>
                    <a:cubicBezTo>
                      <a:pt x="69" y="0"/>
                      <a:pt x="81" y="5"/>
                      <a:pt x="91" y="15"/>
                    </a:cubicBezTo>
                    <a:cubicBezTo>
                      <a:pt x="105" y="30"/>
                      <a:pt x="105" y="48"/>
                      <a:pt x="105" y="72"/>
                    </a:cubicBezTo>
                    <a:cubicBezTo>
                      <a:pt x="105" y="97"/>
                      <a:pt x="105" y="114"/>
                      <a:pt x="91" y="129"/>
                    </a:cubicBezTo>
                    <a:close/>
                    <a:moveTo>
                      <a:pt x="70" y="32"/>
                    </a:moveTo>
                    <a:lnTo>
                      <a:pt x="70" y="32"/>
                    </a:lnTo>
                    <a:cubicBezTo>
                      <a:pt x="66" y="28"/>
                      <a:pt x="60" y="25"/>
                      <a:pt x="53" y="25"/>
                    </a:cubicBezTo>
                    <a:cubicBezTo>
                      <a:pt x="45" y="25"/>
                      <a:pt x="39" y="28"/>
                      <a:pt x="35" y="32"/>
                    </a:cubicBezTo>
                    <a:cubicBezTo>
                      <a:pt x="29" y="38"/>
                      <a:pt x="28" y="45"/>
                      <a:pt x="28" y="72"/>
                    </a:cubicBezTo>
                    <a:cubicBezTo>
                      <a:pt x="28" y="99"/>
                      <a:pt x="29" y="106"/>
                      <a:pt x="35" y="112"/>
                    </a:cubicBezTo>
                    <a:cubicBezTo>
                      <a:pt x="39" y="117"/>
                      <a:pt x="45" y="120"/>
                      <a:pt x="53" y="120"/>
                    </a:cubicBezTo>
                    <a:cubicBezTo>
                      <a:pt x="60" y="120"/>
                      <a:pt x="66" y="117"/>
                      <a:pt x="70" y="112"/>
                    </a:cubicBezTo>
                    <a:cubicBezTo>
                      <a:pt x="76" y="106"/>
                      <a:pt x="77" y="99"/>
                      <a:pt x="77" y="72"/>
                    </a:cubicBezTo>
                    <a:cubicBezTo>
                      <a:pt x="77" y="45"/>
                      <a:pt x="76" y="38"/>
                      <a:pt x="70" y="32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5" name="Freeform 7"/>
              <p:cNvSpPr>
                <a:spLocks/>
              </p:cNvSpPr>
              <p:nvPr/>
            </p:nvSpPr>
            <p:spPr bwMode="auto">
              <a:xfrm>
                <a:off x="315913" y="-819151"/>
                <a:ext cx="96838" cy="128588"/>
              </a:xfrm>
              <a:custGeom>
                <a:avLst/>
                <a:gdLst>
                  <a:gd name="T0" fmla="*/ 84 w 109"/>
                  <a:gd name="T1" fmla="*/ 142 h 142"/>
                  <a:gd name="T2" fmla="*/ 84 w 109"/>
                  <a:gd name="T3" fmla="*/ 142 h 142"/>
                  <a:gd name="T4" fmla="*/ 28 w 109"/>
                  <a:gd name="T5" fmla="*/ 55 h 142"/>
                  <a:gd name="T6" fmla="*/ 28 w 109"/>
                  <a:gd name="T7" fmla="*/ 142 h 142"/>
                  <a:gd name="T8" fmla="*/ 0 w 109"/>
                  <a:gd name="T9" fmla="*/ 142 h 142"/>
                  <a:gd name="T10" fmla="*/ 0 w 109"/>
                  <a:gd name="T11" fmla="*/ 0 h 142"/>
                  <a:gd name="T12" fmla="*/ 25 w 109"/>
                  <a:gd name="T13" fmla="*/ 0 h 142"/>
                  <a:gd name="T14" fmla="*/ 81 w 109"/>
                  <a:gd name="T15" fmla="*/ 87 h 142"/>
                  <a:gd name="T16" fmla="*/ 81 w 109"/>
                  <a:gd name="T17" fmla="*/ 0 h 142"/>
                  <a:gd name="T18" fmla="*/ 109 w 109"/>
                  <a:gd name="T19" fmla="*/ 0 h 142"/>
                  <a:gd name="T20" fmla="*/ 109 w 109"/>
                  <a:gd name="T21" fmla="*/ 142 h 142"/>
                  <a:gd name="T22" fmla="*/ 84 w 109"/>
                  <a:gd name="T23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9" h="142">
                    <a:moveTo>
                      <a:pt x="84" y="142"/>
                    </a:moveTo>
                    <a:lnTo>
                      <a:pt x="84" y="142"/>
                    </a:lnTo>
                    <a:lnTo>
                      <a:pt x="28" y="55"/>
                    </a:lnTo>
                    <a:lnTo>
                      <a:pt x="28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25" y="0"/>
                    </a:lnTo>
                    <a:lnTo>
                      <a:pt x="81" y="87"/>
                    </a:lnTo>
                    <a:lnTo>
                      <a:pt x="81" y="0"/>
                    </a:lnTo>
                    <a:lnTo>
                      <a:pt x="109" y="0"/>
                    </a:lnTo>
                    <a:lnTo>
                      <a:pt x="109" y="142"/>
                    </a:lnTo>
                    <a:lnTo>
                      <a:pt x="84" y="14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6" name="Freeform 8"/>
              <p:cNvSpPr>
                <a:spLocks/>
              </p:cNvSpPr>
              <p:nvPr/>
            </p:nvSpPr>
            <p:spPr bwMode="auto">
              <a:xfrm>
                <a:off x="431800" y="-819151"/>
                <a:ext cx="92075" cy="128588"/>
              </a:xfrm>
              <a:custGeom>
                <a:avLst/>
                <a:gdLst>
                  <a:gd name="T0" fmla="*/ 65 w 103"/>
                  <a:gd name="T1" fmla="*/ 25 h 142"/>
                  <a:gd name="T2" fmla="*/ 65 w 103"/>
                  <a:gd name="T3" fmla="*/ 25 h 142"/>
                  <a:gd name="T4" fmla="*/ 65 w 103"/>
                  <a:gd name="T5" fmla="*/ 142 h 142"/>
                  <a:gd name="T6" fmla="*/ 38 w 103"/>
                  <a:gd name="T7" fmla="*/ 142 h 142"/>
                  <a:gd name="T8" fmla="*/ 38 w 103"/>
                  <a:gd name="T9" fmla="*/ 25 h 142"/>
                  <a:gd name="T10" fmla="*/ 0 w 103"/>
                  <a:gd name="T11" fmla="*/ 25 h 142"/>
                  <a:gd name="T12" fmla="*/ 0 w 103"/>
                  <a:gd name="T13" fmla="*/ 0 h 142"/>
                  <a:gd name="T14" fmla="*/ 103 w 103"/>
                  <a:gd name="T15" fmla="*/ 0 h 142"/>
                  <a:gd name="T16" fmla="*/ 103 w 103"/>
                  <a:gd name="T17" fmla="*/ 25 h 142"/>
                  <a:gd name="T18" fmla="*/ 65 w 103"/>
                  <a:gd name="T19" fmla="*/ 25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3" h="142">
                    <a:moveTo>
                      <a:pt x="65" y="25"/>
                    </a:moveTo>
                    <a:lnTo>
                      <a:pt x="65" y="25"/>
                    </a:lnTo>
                    <a:lnTo>
                      <a:pt x="65" y="142"/>
                    </a:lnTo>
                    <a:lnTo>
                      <a:pt x="38" y="142"/>
                    </a:lnTo>
                    <a:lnTo>
                      <a:pt x="38" y="25"/>
                    </a:lnTo>
                    <a:lnTo>
                      <a:pt x="0" y="25"/>
                    </a:lnTo>
                    <a:lnTo>
                      <a:pt x="0" y="0"/>
                    </a:lnTo>
                    <a:lnTo>
                      <a:pt x="103" y="0"/>
                    </a:lnTo>
                    <a:lnTo>
                      <a:pt x="103" y="25"/>
                    </a:lnTo>
                    <a:lnTo>
                      <a:pt x="65" y="2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7" name="Freeform 9"/>
              <p:cNvSpPr>
                <a:spLocks noEditPoints="1"/>
              </p:cNvSpPr>
              <p:nvPr/>
            </p:nvSpPr>
            <p:spPr bwMode="auto">
              <a:xfrm>
                <a:off x="520700" y="-819151"/>
                <a:ext cx="111125" cy="128588"/>
              </a:xfrm>
              <a:custGeom>
                <a:avLst/>
                <a:gdLst>
                  <a:gd name="T0" fmla="*/ 96 w 125"/>
                  <a:gd name="T1" fmla="*/ 142 h 142"/>
                  <a:gd name="T2" fmla="*/ 96 w 125"/>
                  <a:gd name="T3" fmla="*/ 142 h 142"/>
                  <a:gd name="T4" fmla="*/ 88 w 125"/>
                  <a:gd name="T5" fmla="*/ 117 h 142"/>
                  <a:gd name="T6" fmla="*/ 37 w 125"/>
                  <a:gd name="T7" fmla="*/ 117 h 142"/>
                  <a:gd name="T8" fmla="*/ 29 w 125"/>
                  <a:gd name="T9" fmla="*/ 142 h 142"/>
                  <a:gd name="T10" fmla="*/ 0 w 125"/>
                  <a:gd name="T11" fmla="*/ 142 h 142"/>
                  <a:gd name="T12" fmla="*/ 51 w 125"/>
                  <a:gd name="T13" fmla="*/ 0 h 142"/>
                  <a:gd name="T14" fmla="*/ 73 w 125"/>
                  <a:gd name="T15" fmla="*/ 0 h 142"/>
                  <a:gd name="T16" fmla="*/ 125 w 125"/>
                  <a:gd name="T17" fmla="*/ 142 h 142"/>
                  <a:gd name="T18" fmla="*/ 96 w 125"/>
                  <a:gd name="T19" fmla="*/ 142 h 142"/>
                  <a:gd name="T20" fmla="*/ 63 w 125"/>
                  <a:gd name="T21" fmla="*/ 42 h 142"/>
                  <a:gd name="T22" fmla="*/ 63 w 125"/>
                  <a:gd name="T23" fmla="*/ 42 h 142"/>
                  <a:gd name="T24" fmla="*/ 45 w 125"/>
                  <a:gd name="T25" fmla="*/ 94 h 142"/>
                  <a:gd name="T26" fmla="*/ 80 w 125"/>
                  <a:gd name="T27" fmla="*/ 94 h 142"/>
                  <a:gd name="T28" fmla="*/ 63 w 125"/>
                  <a:gd name="T29" fmla="*/ 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5" h="142">
                    <a:moveTo>
                      <a:pt x="96" y="142"/>
                    </a:moveTo>
                    <a:lnTo>
                      <a:pt x="96" y="142"/>
                    </a:lnTo>
                    <a:lnTo>
                      <a:pt x="88" y="117"/>
                    </a:lnTo>
                    <a:lnTo>
                      <a:pt x="37" y="117"/>
                    </a:lnTo>
                    <a:lnTo>
                      <a:pt x="29" y="142"/>
                    </a:lnTo>
                    <a:lnTo>
                      <a:pt x="0" y="142"/>
                    </a:lnTo>
                    <a:lnTo>
                      <a:pt x="51" y="0"/>
                    </a:lnTo>
                    <a:lnTo>
                      <a:pt x="73" y="0"/>
                    </a:lnTo>
                    <a:lnTo>
                      <a:pt x="125" y="142"/>
                    </a:lnTo>
                    <a:lnTo>
                      <a:pt x="96" y="142"/>
                    </a:lnTo>
                    <a:close/>
                    <a:moveTo>
                      <a:pt x="63" y="42"/>
                    </a:moveTo>
                    <a:lnTo>
                      <a:pt x="63" y="42"/>
                    </a:lnTo>
                    <a:lnTo>
                      <a:pt x="45" y="94"/>
                    </a:lnTo>
                    <a:lnTo>
                      <a:pt x="80" y="94"/>
                    </a:lnTo>
                    <a:lnTo>
                      <a:pt x="63" y="4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8" name="Freeform 10"/>
              <p:cNvSpPr>
                <a:spLocks/>
              </p:cNvSpPr>
              <p:nvPr/>
            </p:nvSpPr>
            <p:spPr bwMode="auto">
              <a:xfrm>
                <a:off x="649288" y="-819151"/>
                <a:ext cx="25400" cy="128588"/>
              </a:xfrm>
              <a:custGeom>
                <a:avLst/>
                <a:gdLst>
                  <a:gd name="T0" fmla="*/ 0 w 28"/>
                  <a:gd name="T1" fmla="*/ 0 h 142"/>
                  <a:gd name="T2" fmla="*/ 0 w 28"/>
                  <a:gd name="T3" fmla="*/ 0 h 142"/>
                  <a:gd name="T4" fmla="*/ 28 w 28"/>
                  <a:gd name="T5" fmla="*/ 0 h 142"/>
                  <a:gd name="T6" fmla="*/ 28 w 28"/>
                  <a:gd name="T7" fmla="*/ 142 h 142"/>
                  <a:gd name="T8" fmla="*/ 0 w 28"/>
                  <a:gd name="T9" fmla="*/ 142 h 142"/>
                  <a:gd name="T10" fmla="*/ 0 w 28"/>
                  <a:gd name="T11" fmla="*/ 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142">
                    <a:moveTo>
                      <a:pt x="0" y="0"/>
                    </a:moveTo>
                    <a:lnTo>
                      <a:pt x="0" y="0"/>
                    </a:lnTo>
                    <a:lnTo>
                      <a:pt x="28" y="0"/>
                    </a:lnTo>
                    <a:lnTo>
                      <a:pt x="28" y="142"/>
                    </a:lnTo>
                    <a:lnTo>
                      <a:pt x="0" y="14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9" name="Freeform 11"/>
              <p:cNvSpPr>
                <a:spLocks/>
              </p:cNvSpPr>
              <p:nvPr/>
            </p:nvSpPr>
            <p:spPr bwMode="auto">
              <a:xfrm>
                <a:off x="703263" y="-819151"/>
                <a:ext cx="96838" cy="128588"/>
              </a:xfrm>
              <a:custGeom>
                <a:avLst/>
                <a:gdLst>
                  <a:gd name="T0" fmla="*/ 84 w 109"/>
                  <a:gd name="T1" fmla="*/ 142 h 142"/>
                  <a:gd name="T2" fmla="*/ 84 w 109"/>
                  <a:gd name="T3" fmla="*/ 142 h 142"/>
                  <a:gd name="T4" fmla="*/ 27 w 109"/>
                  <a:gd name="T5" fmla="*/ 55 h 142"/>
                  <a:gd name="T6" fmla="*/ 27 w 109"/>
                  <a:gd name="T7" fmla="*/ 142 h 142"/>
                  <a:gd name="T8" fmla="*/ 0 w 109"/>
                  <a:gd name="T9" fmla="*/ 142 h 142"/>
                  <a:gd name="T10" fmla="*/ 0 w 109"/>
                  <a:gd name="T11" fmla="*/ 0 h 142"/>
                  <a:gd name="T12" fmla="*/ 24 w 109"/>
                  <a:gd name="T13" fmla="*/ 0 h 142"/>
                  <a:gd name="T14" fmla="*/ 81 w 109"/>
                  <a:gd name="T15" fmla="*/ 87 h 142"/>
                  <a:gd name="T16" fmla="*/ 81 w 109"/>
                  <a:gd name="T17" fmla="*/ 0 h 142"/>
                  <a:gd name="T18" fmla="*/ 109 w 109"/>
                  <a:gd name="T19" fmla="*/ 0 h 142"/>
                  <a:gd name="T20" fmla="*/ 109 w 109"/>
                  <a:gd name="T21" fmla="*/ 142 h 142"/>
                  <a:gd name="T22" fmla="*/ 84 w 109"/>
                  <a:gd name="T23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9" h="142">
                    <a:moveTo>
                      <a:pt x="84" y="142"/>
                    </a:moveTo>
                    <a:lnTo>
                      <a:pt x="84" y="142"/>
                    </a:lnTo>
                    <a:lnTo>
                      <a:pt x="27" y="55"/>
                    </a:lnTo>
                    <a:lnTo>
                      <a:pt x="27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24" y="0"/>
                    </a:lnTo>
                    <a:lnTo>
                      <a:pt x="81" y="87"/>
                    </a:lnTo>
                    <a:lnTo>
                      <a:pt x="81" y="0"/>
                    </a:lnTo>
                    <a:lnTo>
                      <a:pt x="109" y="0"/>
                    </a:lnTo>
                    <a:lnTo>
                      <a:pt x="109" y="142"/>
                    </a:lnTo>
                    <a:lnTo>
                      <a:pt x="84" y="14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0" name="Freeform 12"/>
              <p:cNvSpPr>
                <a:spLocks/>
              </p:cNvSpPr>
              <p:nvPr/>
            </p:nvSpPr>
            <p:spPr bwMode="auto">
              <a:xfrm>
                <a:off x="828675" y="-819151"/>
                <a:ext cx="114300" cy="128588"/>
              </a:xfrm>
              <a:custGeom>
                <a:avLst/>
                <a:gdLst>
                  <a:gd name="T0" fmla="*/ 102 w 129"/>
                  <a:gd name="T1" fmla="*/ 142 h 142"/>
                  <a:gd name="T2" fmla="*/ 102 w 129"/>
                  <a:gd name="T3" fmla="*/ 142 h 142"/>
                  <a:gd name="T4" fmla="*/ 102 w 129"/>
                  <a:gd name="T5" fmla="*/ 59 h 142"/>
                  <a:gd name="T6" fmla="*/ 74 w 129"/>
                  <a:gd name="T7" fmla="*/ 113 h 142"/>
                  <a:gd name="T8" fmla="*/ 56 w 129"/>
                  <a:gd name="T9" fmla="*/ 113 h 142"/>
                  <a:gd name="T10" fmla="*/ 28 w 129"/>
                  <a:gd name="T11" fmla="*/ 59 h 142"/>
                  <a:gd name="T12" fmla="*/ 28 w 129"/>
                  <a:gd name="T13" fmla="*/ 142 h 142"/>
                  <a:gd name="T14" fmla="*/ 0 w 129"/>
                  <a:gd name="T15" fmla="*/ 142 h 142"/>
                  <a:gd name="T16" fmla="*/ 0 w 129"/>
                  <a:gd name="T17" fmla="*/ 0 h 142"/>
                  <a:gd name="T18" fmla="*/ 28 w 129"/>
                  <a:gd name="T19" fmla="*/ 0 h 142"/>
                  <a:gd name="T20" fmla="*/ 65 w 129"/>
                  <a:gd name="T21" fmla="*/ 77 h 142"/>
                  <a:gd name="T22" fmla="*/ 102 w 129"/>
                  <a:gd name="T23" fmla="*/ 0 h 142"/>
                  <a:gd name="T24" fmla="*/ 129 w 129"/>
                  <a:gd name="T25" fmla="*/ 0 h 142"/>
                  <a:gd name="T26" fmla="*/ 129 w 129"/>
                  <a:gd name="T27" fmla="*/ 142 h 142"/>
                  <a:gd name="T28" fmla="*/ 102 w 129"/>
                  <a:gd name="T29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9" h="142">
                    <a:moveTo>
                      <a:pt x="102" y="142"/>
                    </a:moveTo>
                    <a:lnTo>
                      <a:pt x="102" y="142"/>
                    </a:lnTo>
                    <a:lnTo>
                      <a:pt x="102" y="59"/>
                    </a:lnTo>
                    <a:lnTo>
                      <a:pt x="74" y="113"/>
                    </a:lnTo>
                    <a:lnTo>
                      <a:pt x="56" y="113"/>
                    </a:lnTo>
                    <a:lnTo>
                      <a:pt x="28" y="59"/>
                    </a:lnTo>
                    <a:lnTo>
                      <a:pt x="28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28" y="0"/>
                    </a:lnTo>
                    <a:lnTo>
                      <a:pt x="65" y="77"/>
                    </a:lnTo>
                    <a:lnTo>
                      <a:pt x="102" y="0"/>
                    </a:lnTo>
                    <a:lnTo>
                      <a:pt x="129" y="0"/>
                    </a:lnTo>
                    <a:lnTo>
                      <a:pt x="129" y="142"/>
                    </a:lnTo>
                    <a:lnTo>
                      <a:pt x="102" y="14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1" name="Freeform 13"/>
              <p:cNvSpPr>
                <a:spLocks/>
              </p:cNvSpPr>
              <p:nvPr/>
            </p:nvSpPr>
            <p:spPr bwMode="auto">
              <a:xfrm>
                <a:off x="971550" y="-819151"/>
                <a:ext cx="84138" cy="128588"/>
              </a:xfrm>
              <a:custGeom>
                <a:avLst/>
                <a:gdLst>
                  <a:gd name="T0" fmla="*/ 0 w 94"/>
                  <a:gd name="T1" fmla="*/ 142 h 142"/>
                  <a:gd name="T2" fmla="*/ 0 w 94"/>
                  <a:gd name="T3" fmla="*/ 142 h 142"/>
                  <a:gd name="T4" fmla="*/ 0 w 94"/>
                  <a:gd name="T5" fmla="*/ 0 h 142"/>
                  <a:gd name="T6" fmla="*/ 94 w 94"/>
                  <a:gd name="T7" fmla="*/ 0 h 142"/>
                  <a:gd name="T8" fmla="*/ 94 w 94"/>
                  <a:gd name="T9" fmla="*/ 25 h 142"/>
                  <a:gd name="T10" fmla="*/ 28 w 94"/>
                  <a:gd name="T11" fmla="*/ 25 h 142"/>
                  <a:gd name="T12" fmla="*/ 28 w 94"/>
                  <a:gd name="T13" fmla="*/ 58 h 142"/>
                  <a:gd name="T14" fmla="*/ 84 w 94"/>
                  <a:gd name="T15" fmla="*/ 58 h 142"/>
                  <a:gd name="T16" fmla="*/ 84 w 94"/>
                  <a:gd name="T17" fmla="*/ 83 h 142"/>
                  <a:gd name="T18" fmla="*/ 28 w 94"/>
                  <a:gd name="T19" fmla="*/ 83 h 142"/>
                  <a:gd name="T20" fmla="*/ 28 w 94"/>
                  <a:gd name="T21" fmla="*/ 118 h 142"/>
                  <a:gd name="T22" fmla="*/ 94 w 94"/>
                  <a:gd name="T23" fmla="*/ 118 h 142"/>
                  <a:gd name="T24" fmla="*/ 94 w 94"/>
                  <a:gd name="T25" fmla="*/ 142 h 142"/>
                  <a:gd name="T26" fmla="*/ 0 w 94"/>
                  <a:gd name="T27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4" h="142">
                    <a:moveTo>
                      <a:pt x="0" y="142"/>
                    </a:moveTo>
                    <a:lnTo>
                      <a:pt x="0" y="142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94" y="25"/>
                    </a:lnTo>
                    <a:lnTo>
                      <a:pt x="28" y="25"/>
                    </a:lnTo>
                    <a:lnTo>
                      <a:pt x="28" y="58"/>
                    </a:lnTo>
                    <a:lnTo>
                      <a:pt x="84" y="58"/>
                    </a:lnTo>
                    <a:lnTo>
                      <a:pt x="84" y="83"/>
                    </a:lnTo>
                    <a:lnTo>
                      <a:pt x="28" y="83"/>
                    </a:lnTo>
                    <a:lnTo>
                      <a:pt x="28" y="118"/>
                    </a:lnTo>
                    <a:lnTo>
                      <a:pt x="94" y="118"/>
                    </a:lnTo>
                    <a:lnTo>
                      <a:pt x="94" y="142"/>
                    </a:lnTo>
                    <a:lnTo>
                      <a:pt x="0" y="14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2" name="Freeform 14"/>
              <p:cNvSpPr>
                <a:spLocks/>
              </p:cNvSpPr>
              <p:nvPr/>
            </p:nvSpPr>
            <p:spPr bwMode="auto">
              <a:xfrm>
                <a:off x="1077913" y="-819151"/>
                <a:ext cx="98425" cy="128588"/>
              </a:xfrm>
              <a:custGeom>
                <a:avLst/>
                <a:gdLst>
                  <a:gd name="T0" fmla="*/ 85 w 109"/>
                  <a:gd name="T1" fmla="*/ 142 h 142"/>
                  <a:gd name="T2" fmla="*/ 85 w 109"/>
                  <a:gd name="T3" fmla="*/ 142 h 142"/>
                  <a:gd name="T4" fmla="*/ 28 w 109"/>
                  <a:gd name="T5" fmla="*/ 55 h 142"/>
                  <a:gd name="T6" fmla="*/ 28 w 109"/>
                  <a:gd name="T7" fmla="*/ 142 h 142"/>
                  <a:gd name="T8" fmla="*/ 0 w 109"/>
                  <a:gd name="T9" fmla="*/ 142 h 142"/>
                  <a:gd name="T10" fmla="*/ 0 w 109"/>
                  <a:gd name="T11" fmla="*/ 0 h 142"/>
                  <a:gd name="T12" fmla="*/ 25 w 109"/>
                  <a:gd name="T13" fmla="*/ 0 h 142"/>
                  <a:gd name="T14" fmla="*/ 82 w 109"/>
                  <a:gd name="T15" fmla="*/ 87 h 142"/>
                  <a:gd name="T16" fmla="*/ 82 w 109"/>
                  <a:gd name="T17" fmla="*/ 0 h 142"/>
                  <a:gd name="T18" fmla="*/ 109 w 109"/>
                  <a:gd name="T19" fmla="*/ 0 h 142"/>
                  <a:gd name="T20" fmla="*/ 109 w 109"/>
                  <a:gd name="T21" fmla="*/ 142 h 142"/>
                  <a:gd name="T22" fmla="*/ 85 w 109"/>
                  <a:gd name="T23" fmla="*/ 142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9" h="142">
                    <a:moveTo>
                      <a:pt x="85" y="142"/>
                    </a:moveTo>
                    <a:lnTo>
                      <a:pt x="85" y="142"/>
                    </a:lnTo>
                    <a:lnTo>
                      <a:pt x="28" y="55"/>
                    </a:lnTo>
                    <a:lnTo>
                      <a:pt x="28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25" y="0"/>
                    </a:lnTo>
                    <a:lnTo>
                      <a:pt x="82" y="87"/>
                    </a:lnTo>
                    <a:lnTo>
                      <a:pt x="82" y="0"/>
                    </a:lnTo>
                    <a:lnTo>
                      <a:pt x="109" y="0"/>
                    </a:lnTo>
                    <a:lnTo>
                      <a:pt x="109" y="142"/>
                    </a:lnTo>
                    <a:lnTo>
                      <a:pt x="85" y="142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3" name="Freeform 15"/>
              <p:cNvSpPr>
                <a:spLocks/>
              </p:cNvSpPr>
              <p:nvPr/>
            </p:nvSpPr>
            <p:spPr bwMode="auto">
              <a:xfrm>
                <a:off x="1195388" y="-819151"/>
                <a:ext cx="92075" cy="128588"/>
              </a:xfrm>
              <a:custGeom>
                <a:avLst/>
                <a:gdLst>
                  <a:gd name="T0" fmla="*/ 65 w 102"/>
                  <a:gd name="T1" fmla="*/ 25 h 142"/>
                  <a:gd name="T2" fmla="*/ 65 w 102"/>
                  <a:gd name="T3" fmla="*/ 25 h 142"/>
                  <a:gd name="T4" fmla="*/ 65 w 102"/>
                  <a:gd name="T5" fmla="*/ 142 h 142"/>
                  <a:gd name="T6" fmla="*/ 37 w 102"/>
                  <a:gd name="T7" fmla="*/ 142 h 142"/>
                  <a:gd name="T8" fmla="*/ 37 w 102"/>
                  <a:gd name="T9" fmla="*/ 25 h 142"/>
                  <a:gd name="T10" fmla="*/ 0 w 102"/>
                  <a:gd name="T11" fmla="*/ 25 h 142"/>
                  <a:gd name="T12" fmla="*/ 0 w 102"/>
                  <a:gd name="T13" fmla="*/ 0 h 142"/>
                  <a:gd name="T14" fmla="*/ 102 w 102"/>
                  <a:gd name="T15" fmla="*/ 0 h 142"/>
                  <a:gd name="T16" fmla="*/ 102 w 102"/>
                  <a:gd name="T17" fmla="*/ 25 h 142"/>
                  <a:gd name="T18" fmla="*/ 65 w 102"/>
                  <a:gd name="T19" fmla="*/ 25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2" h="142">
                    <a:moveTo>
                      <a:pt x="65" y="25"/>
                    </a:moveTo>
                    <a:lnTo>
                      <a:pt x="65" y="25"/>
                    </a:lnTo>
                    <a:lnTo>
                      <a:pt x="65" y="142"/>
                    </a:lnTo>
                    <a:lnTo>
                      <a:pt x="37" y="142"/>
                    </a:lnTo>
                    <a:lnTo>
                      <a:pt x="37" y="25"/>
                    </a:lnTo>
                    <a:lnTo>
                      <a:pt x="0" y="25"/>
                    </a:lnTo>
                    <a:lnTo>
                      <a:pt x="0" y="0"/>
                    </a:lnTo>
                    <a:lnTo>
                      <a:pt x="102" y="0"/>
                    </a:lnTo>
                    <a:lnTo>
                      <a:pt x="102" y="25"/>
                    </a:lnTo>
                    <a:lnTo>
                      <a:pt x="65" y="25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5945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615" name="FSM"/>
          <p:cNvGrpSpPr/>
          <p:nvPr/>
        </p:nvGrpSpPr>
        <p:grpSpPr>
          <a:xfrm>
            <a:off x="1205684" y="3014431"/>
            <a:ext cx="6248618" cy="1178388"/>
            <a:chOff x="1205684" y="3014431"/>
            <a:chExt cx="6248618" cy="1178388"/>
          </a:xfrm>
        </p:grpSpPr>
        <p:sp>
          <p:nvSpPr>
            <p:cNvPr id="616" name="arrow"/>
            <p:cNvSpPr/>
            <p:nvPr/>
          </p:nvSpPr>
          <p:spPr>
            <a:xfrm>
              <a:off x="6997102" y="3475036"/>
              <a:ext cx="457200" cy="228600"/>
            </a:xfrm>
            <a:prstGeom prst="rightArrow">
              <a:avLst>
                <a:gd name="adj1" fmla="val 53302"/>
                <a:gd name="adj2" fmla="val 50000"/>
              </a:avLst>
            </a:pr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7" name="Rounded Rectangle 616"/>
            <p:cNvSpPr/>
            <p:nvPr/>
          </p:nvSpPr>
          <p:spPr>
            <a:xfrm>
              <a:off x="5982831" y="3360736"/>
              <a:ext cx="1005840" cy="4572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atment plant</a:t>
              </a:r>
            </a:p>
          </p:txBody>
        </p:sp>
        <p:sp>
          <p:nvSpPr>
            <p:cNvPr id="618" name="arrow"/>
            <p:cNvSpPr/>
            <p:nvPr/>
          </p:nvSpPr>
          <p:spPr>
            <a:xfrm flipV="1">
              <a:off x="5229014" y="3367543"/>
              <a:ext cx="731520" cy="228600"/>
            </a:xfrm>
            <a:prstGeom prst="bentArrow">
              <a:avLst>
                <a:gd name="adj1" fmla="val 45168"/>
                <a:gd name="adj2" fmla="val 42801"/>
                <a:gd name="adj3" fmla="val 25000"/>
                <a:gd name="adj4" fmla="val 69928"/>
              </a:avLst>
            </a:pr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9" name="Rounded Rectangle 618"/>
            <p:cNvSpPr/>
            <p:nvPr/>
          </p:nvSpPr>
          <p:spPr>
            <a:xfrm>
              <a:off x="2773916" y="3014431"/>
              <a:ext cx="2690652" cy="358873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Vacuum truck</a:t>
              </a:r>
            </a:p>
          </p:txBody>
        </p:sp>
        <p:sp>
          <p:nvSpPr>
            <p:cNvPr id="620" name="arrow"/>
            <p:cNvSpPr/>
            <p:nvPr/>
          </p:nvSpPr>
          <p:spPr>
            <a:xfrm>
              <a:off x="5229014" y="3605031"/>
              <a:ext cx="731520" cy="228600"/>
            </a:xfrm>
            <a:prstGeom prst="bentArrow">
              <a:avLst>
                <a:gd name="adj1" fmla="val 45168"/>
                <a:gd name="adj2" fmla="val 42801"/>
                <a:gd name="adj3" fmla="val 25000"/>
                <a:gd name="adj4" fmla="val 69928"/>
              </a:avLst>
            </a:pr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1" name="Rounded Rectangle 620"/>
            <p:cNvSpPr/>
            <p:nvPr/>
          </p:nvSpPr>
          <p:spPr>
            <a:xfrm>
              <a:off x="4458728" y="3789027"/>
              <a:ext cx="1005840" cy="358873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ansfer</a:t>
              </a:r>
            </a:p>
          </p:txBody>
        </p:sp>
        <p:sp>
          <p:nvSpPr>
            <p:cNvPr id="622" name="on-site to overflow arrow"/>
            <p:cNvSpPr/>
            <p:nvPr/>
          </p:nvSpPr>
          <p:spPr>
            <a:xfrm>
              <a:off x="3790398" y="3851559"/>
              <a:ext cx="640080" cy="228600"/>
            </a:xfrm>
            <a:prstGeom prst="rightArrow">
              <a:avLst>
                <a:gd name="adj1" fmla="val 53302"/>
                <a:gd name="adj2" fmla="val 50000"/>
              </a:avLst>
            </a:pr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3" name="Rounded Rectangle 622"/>
            <p:cNvSpPr/>
            <p:nvPr/>
          </p:nvSpPr>
          <p:spPr>
            <a:xfrm>
              <a:off x="2773916" y="3735619"/>
              <a:ext cx="1097280" cy="4572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imary emptying</a:t>
              </a:r>
            </a:p>
          </p:txBody>
        </p:sp>
        <p:sp>
          <p:nvSpPr>
            <p:cNvPr id="624" name="arrow"/>
            <p:cNvSpPr/>
            <p:nvPr/>
          </p:nvSpPr>
          <p:spPr>
            <a:xfrm>
              <a:off x="2022218" y="3086416"/>
              <a:ext cx="731520" cy="228600"/>
            </a:xfrm>
            <a:prstGeom prst="bentArrow">
              <a:avLst>
                <a:gd name="adj1" fmla="val 45168"/>
                <a:gd name="adj2" fmla="val 42801"/>
                <a:gd name="adj3" fmla="val 25000"/>
                <a:gd name="adj4" fmla="val 69928"/>
              </a:avLst>
            </a:pr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5" name="arrow"/>
            <p:cNvSpPr/>
            <p:nvPr/>
          </p:nvSpPr>
          <p:spPr>
            <a:xfrm flipV="1">
              <a:off x="2022218" y="3844067"/>
              <a:ext cx="731520" cy="228600"/>
            </a:xfrm>
            <a:prstGeom prst="bentArrow">
              <a:avLst>
                <a:gd name="adj1" fmla="val 45168"/>
                <a:gd name="adj2" fmla="val 42801"/>
                <a:gd name="adj3" fmla="val 25000"/>
                <a:gd name="adj4" fmla="val 69928"/>
              </a:avLst>
            </a:pr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6" name="Rounded Rectangle 625"/>
            <p:cNvSpPr/>
            <p:nvPr/>
          </p:nvSpPr>
          <p:spPr>
            <a:xfrm>
              <a:off x="1205684" y="3315016"/>
              <a:ext cx="1005840" cy="54864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it or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ptic tank</a:t>
              </a:r>
            </a:p>
          </p:txBody>
        </p:sp>
      </p:grpSp>
      <p:grpSp>
        <p:nvGrpSpPr>
          <p:cNvPr id="627" name="Sewerage"/>
          <p:cNvGrpSpPr/>
          <p:nvPr/>
        </p:nvGrpSpPr>
        <p:grpSpPr>
          <a:xfrm>
            <a:off x="1199487" y="2087942"/>
            <a:ext cx="6254815" cy="457200"/>
            <a:chOff x="1199487" y="2087942"/>
            <a:chExt cx="6254815" cy="457200"/>
          </a:xfrm>
        </p:grpSpPr>
        <p:sp>
          <p:nvSpPr>
            <p:cNvPr id="628" name="arrow"/>
            <p:cNvSpPr/>
            <p:nvPr/>
          </p:nvSpPr>
          <p:spPr>
            <a:xfrm>
              <a:off x="6997102" y="2202242"/>
              <a:ext cx="457200" cy="228600"/>
            </a:xfrm>
            <a:prstGeom prst="rightArrow">
              <a:avLst>
                <a:gd name="adj1" fmla="val 53302"/>
                <a:gd name="adj2" fmla="val 50000"/>
              </a:avLst>
            </a:pr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9" name="Rounded Rectangle 628"/>
            <p:cNvSpPr/>
            <p:nvPr/>
          </p:nvSpPr>
          <p:spPr>
            <a:xfrm>
              <a:off x="5982831" y="2087942"/>
              <a:ext cx="1005840" cy="4572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reatment plant</a:t>
              </a:r>
            </a:p>
          </p:txBody>
        </p:sp>
        <p:sp>
          <p:nvSpPr>
            <p:cNvPr id="630" name="arrow"/>
            <p:cNvSpPr/>
            <p:nvPr/>
          </p:nvSpPr>
          <p:spPr>
            <a:xfrm>
              <a:off x="5419392" y="2202242"/>
              <a:ext cx="548640" cy="228600"/>
            </a:xfrm>
            <a:prstGeom prst="rightArrow">
              <a:avLst>
                <a:gd name="adj1" fmla="val 53302"/>
                <a:gd name="adj2" fmla="val 50000"/>
              </a:avLst>
            </a:pr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1" name="Rounded Rectangle 630"/>
            <p:cNvSpPr/>
            <p:nvPr/>
          </p:nvSpPr>
          <p:spPr>
            <a:xfrm>
              <a:off x="2773916" y="2137106"/>
              <a:ext cx="2690652" cy="358873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ewer network pumping stations</a:t>
              </a:r>
            </a:p>
          </p:txBody>
        </p:sp>
        <p:sp>
          <p:nvSpPr>
            <p:cNvPr id="632" name="Rounded Rectangle 631"/>
            <p:cNvSpPr/>
            <p:nvPr/>
          </p:nvSpPr>
          <p:spPr>
            <a:xfrm>
              <a:off x="1199487" y="2087942"/>
              <a:ext cx="1005840" cy="457200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tx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Water closet</a:t>
              </a:r>
            </a:p>
          </p:txBody>
        </p:sp>
        <p:sp>
          <p:nvSpPr>
            <p:cNvPr id="633" name="arrow"/>
            <p:cNvSpPr/>
            <p:nvPr/>
          </p:nvSpPr>
          <p:spPr>
            <a:xfrm>
              <a:off x="2216668" y="2202242"/>
              <a:ext cx="548640" cy="228600"/>
            </a:xfrm>
            <a:prstGeom prst="rightArrow">
              <a:avLst>
                <a:gd name="adj1" fmla="val 53302"/>
                <a:gd name="adj2" fmla="val 50000"/>
              </a:avLst>
            </a:prstGeom>
            <a:solidFill>
              <a:schemeClr val="tx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7" name="Post 2015"/>
          <p:cNvGrpSpPr/>
          <p:nvPr/>
        </p:nvGrpSpPr>
        <p:grpSpPr>
          <a:xfrm>
            <a:off x="1091552" y="1184994"/>
            <a:ext cx="6062472" cy="3289980"/>
            <a:chOff x="1091552" y="1184994"/>
            <a:chExt cx="6062472" cy="3289980"/>
          </a:xfrm>
        </p:grpSpPr>
        <p:sp>
          <p:nvSpPr>
            <p:cNvPr id="266" name="Post-2015 Rounded Rectangle"/>
            <p:cNvSpPr/>
            <p:nvPr/>
          </p:nvSpPr>
          <p:spPr>
            <a:xfrm>
              <a:off x="1091552" y="1320294"/>
              <a:ext cx="6062472" cy="3154680"/>
            </a:xfrm>
            <a:prstGeom prst="roundRect">
              <a:avLst>
                <a:gd name="adj" fmla="val 3940"/>
              </a:avLst>
            </a:prstGeom>
            <a:noFill/>
            <a:ln w="28575">
              <a:solidFill>
                <a:srgbClr val="C00000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65" name="Post-2015 Targets"/>
            <p:cNvSpPr/>
            <p:nvPr/>
          </p:nvSpPr>
          <p:spPr>
            <a:xfrm>
              <a:off x="3186087" y="1184994"/>
              <a:ext cx="1873403" cy="262859"/>
            </a:xfrm>
            <a:prstGeom prst="roundRect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tIns="45720" rIns="45720" rtlCol="0" anchor="ctr" anchorCtr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8CB7C7">
                      <a:lumMod val="75000"/>
                    </a:srgbClr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DGs</a:t>
              </a: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8CB7C7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21198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5108" y="780119"/>
            <a:ext cx="6665526" cy="3955211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>
                <a:solidFill>
                  <a:srgbClr val="000000"/>
                </a:solidFill>
              </a:rPr>
              <a:t>© Bill &amp; Melinda Gates Foundation      |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9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sz="2200" b="1" dirty="0">
                <a:solidFill>
                  <a:srgbClr val="C00000"/>
                </a:solidFill>
              </a:rPr>
              <a:t>FSM is not only an infrastructur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78743" y="4848971"/>
            <a:ext cx="2886823" cy="457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900" b="1" i="1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Source: CGIAR/IWMI, 2016</a:t>
            </a:r>
          </a:p>
        </p:txBody>
      </p:sp>
    </p:spTree>
    <p:extLst>
      <p:ext uri="{BB962C8B-B14F-4D97-AF65-F5344CB8AC3E}">
        <p14:creationId xmlns:p14="http://schemas.microsoft.com/office/powerpoint/2010/main" val="251245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STYLE" val="CoverPag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oundation Master Slides">
  <a:themeElements>
    <a:clrScheme name="Foundation PPT Color Palette -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PT Expanded Template_Feb 14 2014.potx [Read-Only]" id="{850324ED-89B8-4D08-AA31-52379BA3D39A}" vid="{4756AC5C-B4FD-4FDC-834E-5B966B507897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Foundation">
  <a:themeElements>
    <a:clrScheme name="Bill &amp; Melinda Gates Foundation June 2009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8CB7C7"/>
      </a:hlink>
      <a:folHlink>
        <a:srgbClr val="E2EDF1"/>
      </a:folHlink>
    </a:clrScheme>
    <a:fontScheme name="Gates Found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12700">
          <a:noFill/>
          <a:headEnd type="none" w="med" len="med"/>
          <a:tailEnd type="none" w="med" len="med"/>
        </a:ln>
        <a:effectLst/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/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>
          <a:defRPr sz="2300" dirty="0" smtClean="0">
            <a:solidFill>
              <a:schemeClr val="accent1">
                <a:lumMod val="50000"/>
              </a:schemeClr>
            </a:solidFill>
            <a:latin typeface="Segoe" pitchFamily="34" charset="0"/>
          </a:defRPr>
        </a:defPPr>
      </a:lstStyle>
      <a:style>
        <a:lnRef idx="0">
          <a:schemeClr val="accent1"/>
        </a:lnRef>
        <a:fillRef idx="3">
          <a:schemeClr val="accent1"/>
        </a:fillRef>
        <a:effectRef idx="3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marL="396875" indent="-396875">
          <a:lnSpc>
            <a:spcPct val="90000"/>
          </a:lnSpc>
          <a:spcBef>
            <a:spcPct val="20000"/>
          </a:spcBef>
          <a:buClr>
            <a:srgbClr val="CE6B28"/>
          </a:buClr>
          <a:buFont typeface="Wingdings" pitchFamily="2" charset="2"/>
          <a:buChar char="§"/>
          <a:defRPr sz="2400" b="1" dirty="0" smtClean="0">
            <a:solidFill>
              <a:srgbClr val="5A471C"/>
            </a:soli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Foundation Master Slides">
  <a:themeElements>
    <a:clrScheme name="Foundation PPT Color Palette -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PT Expanded Template_Feb 14 2014.potx [Read-Only]" id="{850324ED-89B8-4D08-AA31-52379BA3D39A}" vid="{4756AC5C-B4FD-4FDC-834E-5B966B507897}"/>
    </a:ext>
  </a:extLst>
</a:theme>
</file>

<file path=ppt/theme/theme4.xml><?xml version="1.0" encoding="utf-8"?>
<a:theme xmlns:a="http://schemas.openxmlformats.org/drawingml/2006/main" name="2_Foundation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8_Foundation Master Slides">
  <a:themeElements>
    <a:clrScheme name="Foundation PPT Color Palette -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PT Expanded Template_Feb 14 2014.potx [Read-Only]" id="{850324ED-89B8-4D08-AA31-52379BA3D39A}" vid="{4756AC5C-B4FD-4FDC-834E-5B966B507897}"/>
    </a:ext>
  </a:extLst>
</a:theme>
</file>

<file path=ppt/theme/theme6.xml><?xml version="1.0" encoding="utf-8"?>
<a:theme xmlns:a="http://schemas.openxmlformats.org/drawingml/2006/main" name="3_Foundation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PT Express Template_Feb 14 2014.potx [Read-Only]" id="{B308E9FC-7D00-4FC0-BDE5-91E5B6E26E3E}" vid="{FCB3FCE7-1DCD-4778-A1F8-21CCE185B1C2}"/>
    </a:ext>
  </a:extLst>
</a:theme>
</file>

<file path=ppt/theme/theme7.xml><?xml version="1.0" encoding="utf-8"?>
<a:theme xmlns:a="http://schemas.openxmlformats.org/drawingml/2006/main" name="4_Foundation Master Slides">
  <a:themeElements>
    <a:clrScheme name="Foundation PPT Color Palette -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PT Expanded Template_Feb 14 2014.potx [Read-Only]" id="{850324ED-89B8-4D08-AA31-52379BA3D39A}" vid="{4756AC5C-B4FD-4FDC-834E-5B966B507897}"/>
    </a:ext>
  </a:extLst>
</a:theme>
</file>

<file path=ppt/theme/theme8.xml><?xml version="1.0" encoding="utf-8"?>
<a:theme xmlns:a="http://schemas.openxmlformats.org/drawingml/2006/main" name="5_Foundation Master Slides">
  <a:themeElements>
    <a:clrScheme name="Bill &amp; Melinda Gates Foundation Colors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PT Express Template_Feb 14 2014.potx [Read-Only]" id="{B7219BD7-471E-4A9B-AF18-B69EDD1B78E5}" vid="{0A08D436-D1F2-4CBD-A5C4-4B00D6224E5C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F8CED49AAA56042875F4C407B7EBF97" ma:contentTypeVersion="16" ma:contentTypeDescription="Create a new document." ma:contentTypeScope="" ma:versionID="e80b97da73806b88becece2be567f690">
  <xsd:schema xmlns:xsd="http://www.w3.org/2001/XMLSchema" xmlns:xs="http://www.w3.org/2001/XMLSchema" xmlns:p="http://schemas.microsoft.com/office/2006/metadata/properties" xmlns:ns2="02e959f2-c4b1-4c82-8ad2-fbdae0af7fef" xmlns:ns3="ef7460ff-eaa6-4964-b318-eb8cb9be5250" xmlns:ns4="$ListId:Documents;" xmlns:ns5="6feead09-10cf-4aa5-b9f1-866164a364d2" xmlns:ns6="79296cc7-e2fe-4dc7-839a-0844dcc99a76" targetNamespace="http://schemas.microsoft.com/office/2006/metadata/properties" ma:root="true" ma:fieldsID="9cd7ed5119456bf457070590c37a0828" ns2:_="" ns3:_="" ns4:_="" ns5:_="" ns6:_="">
    <xsd:import namespace="02e959f2-c4b1-4c82-8ad2-fbdae0af7fef"/>
    <xsd:import namespace="ef7460ff-eaa6-4964-b318-eb8cb9be5250"/>
    <xsd:import namespace="$ListId:Documents;"/>
    <xsd:import namespace="6feead09-10cf-4aa5-b9f1-866164a364d2"/>
    <xsd:import namespace="79296cc7-e2fe-4dc7-839a-0844dcc99a76"/>
    <xsd:element name="properties">
      <xsd:complexType>
        <xsd:sequence>
          <xsd:element name="documentManagement">
            <xsd:complexType>
              <xsd:all>
                <xsd:element ref="ns2:TaxKeywordTaxHTField" minOccurs="0"/>
                <xsd:element ref="ns2:TaxCatchAll" minOccurs="0"/>
                <xsd:element ref="ns3:Document_x0020_Date" minOccurs="0"/>
                <xsd:element ref="ns4:Status" minOccurs="0"/>
                <xsd:element ref="ns5:SharedWithUsers" minOccurs="0"/>
                <xsd:element ref="ns5:SharingHintHash" minOccurs="0"/>
                <xsd:element ref="ns5:SharedWithDetails" minOccurs="0"/>
                <xsd:element ref="ns5:LastSharedByUser" minOccurs="0"/>
                <xsd:element ref="ns5:LastSharedByTime" minOccurs="0"/>
                <xsd:element ref="ns6:MediaServiceMetadata" minOccurs="0"/>
                <xsd:element ref="ns6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e959f2-c4b1-4c82-8ad2-fbdae0af7fef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9" nillable="true" ma:taxonomy="true" ma:internalName="TaxKeywordTaxHTField" ma:taxonomyFieldName="TaxKeyword" ma:displayName="Organization" ma:fieldId="{23f27201-bee3-471e-b2e7-b64fd8b7ca38}" ma:taxonomyMulti="true" ma:sspId="497590d4-f9cd-4952-aa38-5a1111e36f0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0" nillable="true" ma:displayName="Taxonomy Catch All Column" ma:hidden="true" ma:list="{2808b730-e87a-460d-becf-ba49194b46dd}" ma:internalName="TaxCatchAll" ma:showField="CatchAllData" ma:web="6feead09-10cf-4aa5-b9f1-866164a364d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f7460ff-eaa6-4964-b318-eb8cb9be5250" elementFormDefault="qualified">
    <xsd:import namespace="http://schemas.microsoft.com/office/2006/documentManagement/types"/>
    <xsd:import namespace="http://schemas.microsoft.com/office/infopath/2007/PartnerControls"/>
    <xsd:element name="Document_x0020_Date" ma:index="11" nillable="true" ma:displayName="Document Date" ma:description="If you just want to tag with the year please enter the date as 1/1/YYYY." ma:format="DateOnly" ma:internalName="Document_x0020_Date" ma:readOnly="fals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$ListId:Documents;" elementFormDefault="qualified">
    <xsd:import namespace="http://schemas.microsoft.com/office/2006/documentManagement/types"/>
    <xsd:import namespace="http://schemas.microsoft.com/office/infopath/2007/PartnerControls"/>
    <xsd:element name="Status" ma:index="12" nillable="true" ma:displayName="Status" ma:format="Dropdown" ma:indexed="true" ma:internalName="Status" ma:readOnly="false">
      <xsd:simpleType>
        <xsd:restriction base="dms:Choice">
          <xsd:enumeration value="Draft"/>
          <xsd:enumeration value="Final"/>
          <xsd:enumeration value="Archived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eead09-10cf-4aa5-b9f1-866164a364d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14" nillable="true" ma:displayName="Sharing Hint Hash" ma:internalName="SharingHintHash" ma:readOnly="true">
      <xsd:simpleType>
        <xsd:restriction base="dms:Text"/>
      </xsd:simple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6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7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296cc7-e2fe-4dc7-839a-0844dcc99a7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9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$ListId:Documents;" xsi:nil="true"/>
    <Document_x0020_Date xmlns="ef7460ff-eaa6-4964-b318-eb8cb9be5250" xsi:nil="true"/>
    <TaxKeywordTaxHTField xmlns="02e959f2-c4b1-4c82-8ad2-fbdae0af7fef">
      <Terms xmlns="http://schemas.microsoft.com/office/infopath/2007/PartnerControls"/>
    </TaxKeywordTaxHTField>
    <TaxCatchAll xmlns="02e959f2-c4b1-4c82-8ad2-fbdae0af7fef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0EA5121-5151-4B87-9363-393B8E61F30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e959f2-c4b1-4c82-8ad2-fbdae0af7fef"/>
    <ds:schemaRef ds:uri="ef7460ff-eaa6-4964-b318-eb8cb9be5250"/>
    <ds:schemaRef ds:uri="$ListId:Documents;"/>
    <ds:schemaRef ds:uri="6feead09-10cf-4aa5-b9f1-866164a364d2"/>
    <ds:schemaRef ds:uri="79296cc7-e2fe-4dc7-839a-0844dcc99a7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B942894-8E25-41C7-BD46-2FFEDD9C9055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6feead09-10cf-4aa5-b9f1-866164a364d2"/>
    <ds:schemaRef ds:uri="79296cc7-e2fe-4dc7-839a-0844dcc99a76"/>
    <ds:schemaRef ds:uri="http://purl.org/dc/elements/1.1/"/>
    <ds:schemaRef ds:uri="$ListId:Documents;"/>
    <ds:schemaRef ds:uri="ef7460ff-eaa6-4964-b318-eb8cb9be5250"/>
    <ds:schemaRef ds:uri="http://schemas.microsoft.com/office/2006/metadata/properties"/>
    <ds:schemaRef ds:uri="02e959f2-c4b1-4c82-8ad2-fbdae0af7fef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7975E97F-E2D6-4FDB-9E6A-9F001F26E6B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464</TotalTime>
  <Words>876</Words>
  <Application>Microsoft Office PowerPoint</Application>
  <PresentationFormat>画面に合わせる (16:9)</PresentationFormat>
  <Paragraphs>190</Paragraphs>
  <Slides>11</Slides>
  <Notes>8</Notes>
  <HiddenSlides>0</HiddenSlides>
  <MMClips>0</MMClips>
  <ScaleCrop>false</ScaleCrop>
  <HeadingPairs>
    <vt:vector size="6" baseType="variant">
      <vt:variant>
        <vt:lpstr>テーマ</vt:lpstr>
      </vt:variant>
      <vt:variant>
        <vt:i4>8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1</vt:i4>
      </vt:variant>
    </vt:vector>
  </HeadingPairs>
  <TitlesOfParts>
    <vt:vector size="20" baseType="lpstr">
      <vt:lpstr>Foundation Master Slides</vt:lpstr>
      <vt:lpstr>2_Foundation</vt:lpstr>
      <vt:lpstr>1_Foundation Master Slides</vt:lpstr>
      <vt:lpstr>2_Foundation Master Slides</vt:lpstr>
      <vt:lpstr>8_Foundation Master Slides</vt:lpstr>
      <vt:lpstr>3_Foundation Master Slides</vt:lpstr>
      <vt:lpstr>4_Foundation Master Slides</vt:lpstr>
      <vt:lpstr>5_Foundation Master Slides</vt:lpstr>
      <vt:lpstr>think-cell Slide</vt:lpstr>
      <vt:lpstr>scaling-up Non sewer sanitation</vt:lpstr>
      <vt:lpstr>Looking back - www 2013</vt:lpstr>
      <vt:lpstr>PowerPoint プレゼンテーション</vt:lpstr>
      <vt:lpstr>Debate on sewerage and non-sewerage still on- going</vt:lpstr>
      <vt:lpstr>PowerPoint プレゼンテーション</vt:lpstr>
      <vt:lpstr>PowerPoint プレゼンテーション</vt:lpstr>
      <vt:lpstr>Comparing the Scenarios  </vt:lpstr>
      <vt:lpstr>Multiple SANITATION solutions </vt:lpstr>
      <vt:lpstr>FSM is not only an infrastructure</vt:lpstr>
      <vt:lpstr>Theory of change: We will focus investments to drive city-level change and replication to global scale</vt:lpstr>
      <vt:lpstr>PowerPoint プレゼンテーション</vt:lpstr>
    </vt:vector>
  </TitlesOfParts>
  <Company>Bill and Melinda Gates Foundat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UNDATION COLOR PALETTE</dc:title>
  <dc:creator>Caroline Kemp</dc:creator>
  <cp:lastModifiedBy>asayama</cp:lastModifiedBy>
  <cp:revision>551</cp:revision>
  <cp:lastPrinted>2014-10-07T05:36:44Z</cp:lastPrinted>
  <dcterms:created xsi:type="dcterms:W3CDTF">2014-07-02T12:39:25Z</dcterms:created>
  <dcterms:modified xsi:type="dcterms:W3CDTF">2017-08-28T23:03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F8CED49AAA56042875F4C407B7EBF97</vt:lpwstr>
  </property>
  <property fmtid="{D5CDD505-2E9C-101B-9397-08002B2CF9AE}" pid="3" name="TaxKeyword">
    <vt:lpwstr/>
  </property>
  <property fmtid="{D5CDD505-2E9C-101B-9397-08002B2CF9AE}" pid="4" name="Document_x0020_Type">
    <vt:lpwstr/>
  </property>
  <property fmtid="{D5CDD505-2E9C-101B-9397-08002B2CF9AE}" pid="5" name="Focus_x0020_Countries">
    <vt:lpwstr/>
  </property>
  <property fmtid="{D5CDD505-2E9C-101B-9397-08002B2CF9AE}" pid="6" name="Topics">
    <vt:lpwstr/>
  </property>
  <property fmtid="{D5CDD505-2E9C-101B-9397-08002B2CF9AE}" pid="7" name="Strategy_x002d_Initiative">
    <vt:lpwstr>131;#Strategy Initiative|c3b04b70-501a-4304-b9a6-abecf8557cf4</vt:lpwstr>
  </property>
  <property fmtid="{D5CDD505-2E9C-101B-9397-08002B2CF9AE}" pid="8" name="Focus Countries">
    <vt:lpwstr/>
  </property>
  <property fmtid="{D5CDD505-2E9C-101B-9397-08002B2CF9AE}" pid="9" name="Document Type">
    <vt:lpwstr/>
  </property>
  <property fmtid="{D5CDD505-2E9C-101B-9397-08002B2CF9AE}" pid="10" name="Strategy-Initiative">
    <vt:lpwstr>131;#Strategy Initiative|c3b04b70-501a-4304-b9a6-abecf8557cf4</vt:lpwstr>
  </property>
</Properties>
</file>